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3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4.xml" ContentType="application/vnd.openxmlformats-officedocument.presentationml.notesSlide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6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tags/tag183.xml" ContentType="application/vnd.openxmlformats-officedocument.presentationml.tags+xml"/>
  <Override PartName="/ppt/notesSlides/notesSlide1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3.xml" ContentType="application/vnd.openxmlformats-officedocument.presentationml.notesSlide+xml"/>
  <Override PartName="/ppt/tags/tag186.xml" ContentType="application/vnd.openxmlformats-officedocument.presentationml.tags+xml"/>
  <Override PartName="/ppt/notesSlides/notesSlide14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5.xml" ContentType="application/vnd.openxmlformats-officedocument.presentationml.notesSlide+xml"/>
  <Override PartName="/ppt/tags/tag189.xml" ContentType="application/vnd.openxmlformats-officedocument.presentationml.tags+xml"/>
  <Override PartName="/ppt/notesSlides/notesSlide16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17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8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9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20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2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</p:sldMasterIdLst>
  <p:notesMasterIdLst>
    <p:notesMasterId r:id="rId43"/>
  </p:notesMasterIdLst>
  <p:handoutMasterIdLst>
    <p:handoutMasterId r:id="rId44"/>
  </p:handoutMasterIdLst>
  <p:sldIdLst>
    <p:sldId id="271" r:id="rId6"/>
    <p:sldId id="284" r:id="rId7"/>
    <p:sldId id="285" r:id="rId8"/>
    <p:sldId id="286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12" r:id="rId17"/>
    <p:sldId id="305" r:id="rId18"/>
    <p:sldId id="256" r:id="rId19"/>
    <p:sldId id="257" r:id="rId20"/>
    <p:sldId id="258" r:id="rId21"/>
    <p:sldId id="259" r:id="rId22"/>
    <p:sldId id="260" r:id="rId23"/>
    <p:sldId id="261" r:id="rId24"/>
    <p:sldId id="262" r:id="rId25"/>
    <p:sldId id="263" r:id="rId26"/>
    <p:sldId id="306" r:id="rId27"/>
    <p:sldId id="289" r:id="rId28"/>
    <p:sldId id="313" r:id="rId29"/>
    <p:sldId id="314" r:id="rId30"/>
    <p:sldId id="307" r:id="rId31"/>
    <p:sldId id="290" r:id="rId32"/>
    <p:sldId id="308" r:id="rId33"/>
    <p:sldId id="291" r:id="rId34"/>
    <p:sldId id="309" r:id="rId35"/>
    <p:sldId id="292" r:id="rId36"/>
    <p:sldId id="310" r:id="rId37"/>
    <p:sldId id="311" r:id="rId38"/>
    <p:sldId id="293" r:id="rId39"/>
    <p:sldId id="294" r:id="rId40"/>
    <p:sldId id="315" r:id="rId41"/>
    <p:sldId id="296" r:id="rId42"/>
  </p:sldIdLst>
  <p:sldSz cx="12192000" cy="6858000"/>
  <p:notesSz cx="6797675" cy="9926638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</p14:sldIdLst>
        </p14:section>
        <p14:section name="Content / agenda slide" id="{B2D49DD4-5508-4B31-9F03-D15F56E85690}">
          <p14:sldIdLst>
            <p14:sldId id="284"/>
            <p14:sldId id="285"/>
            <p14:sldId id="286"/>
            <p14:sldId id="298"/>
            <p14:sldId id="299"/>
            <p14:sldId id="300"/>
            <p14:sldId id="301"/>
            <p14:sldId id="302"/>
            <p14:sldId id="303"/>
            <p14:sldId id="304"/>
            <p14:sldId id="312"/>
            <p14:sldId id="305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306"/>
            <p14:sldId id="289"/>
            <p14:sldId id="313"/>
            <p14:sldId id="314"/>
            <p14:sldId id="307"/>
            <p14:sldId id="290"/>
            <p14:sldId id="308"/>
            <p14:sldId id="291"/>
            <p14:sldId id="309"/>
            <p14:sldId id="292"/>
            <p14:sldId id="310"/>
            <p14:sldId id="311"/>
            <p14:sldId id="293"/>
            <p14:sldId id="294"/>
            <p14:sldId id="315"/>
            <p14:sldId id="296"/>
          </p14:sldIdLst>
        </p14:section>
        <p14:section name="Divider slides" id="{0585301E-2F9B-425E-920B-E8B9B7F44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34" autoAdjust="0"/>
    <p:restoredTop sz="96854" autoAdjust="0"/>
  </p:normalViewPr>
  <p:slideViewPr>
    <p:cSldViewPr snapToGrid="0" showGuides="1">
      <p:cViewPr varScale="1">
        <p:scale>
          <a:sx n="87" d="100"/>
          <a:sy n="87" d="100"/>
        </p:scale>
        <p:origin x="858" y="84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outlineViewPr>
    <p:cViewPr>
      <p:scale>
        <a:sx n="33" d="100"/>
        <a:sy n="33" d="100"/>
      </p:scale>
      <p:origin x="0" y="-27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6186"/>
    </p:cViewPr>
  </p:sorterViewPr>
  <p:notesViewPr>
    <p:cSldViewPr snapToGrid="0" showGuides="1">
      <p:cViewPr>
        <p:scale>
          <a:sx n="125" d="100"/>
          <a:sy n="125" d="100"/>
        </p:scale>
        <p:origin x="-2598" y="1242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commentAuthors" Target="commentAuthor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mmelkjaer, Pia Butzkowsky" userId="S::pia.simmelkjaer@siemens-energy.com::1f5f99e3-7b7b-4f3e-8317-7ce82ebeed46" providerId="AD" clId="Web-{327CF503-2032-1284-90B8-E8B0B12F0EC2}"/>
    <pc:docChg chg="mod">
      <pc:chgData name="Simmelkjaer, Pia Butzkowsky" userId="S::pia.simmelkjaer@siemens-energy.com::1f5f99e3-7b7b-4f3e-8317-7ce82ebeed46" providerId="AD" clId="Web-{327CF503-2032-1284-90B8-E8B0B12F0EC2}" dt="2026-04-13T11:28:53.698" v="0" actId="33475"/>
      <pc:docMkLst>
        <pc:docMk/>
      </pc:docMkLst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lemm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ts</c:v>
                </c:pt>
                <c:pt idx="3">
                  <c:v>April</c:v>
                </c:pt>
                <c:pt idx="4">
                  <c:v>Maj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114</c:v>
                </c:pt>
                <c:pt idx="1">
                  <c:v>2116</c:v>
                </c:pt>
                <c:pt idx="2">
                  <c:v>2147</c:v>
                </c:pt>
                <c:pt idx="3">
                  <c:v>2150</c:v>
                </c:pt>
                <c:pt idx="4">
                  <c:v>2157</c:v>
                </c:pt>
                <c:pt idx="5">
                  <c:v>2152</c:v>
                </c:pt>
                <c:pt idx="6">
                  <c:v>2147</c:v>
                </c:pt>
                <c:pt idx="7">
                  <c:v>2147</c:v>
                </c:pt>
                <c:pt idx="8">
                  <c:v>2173</c:v>
                </c:pt>
                <c:pt idx="9">
                  <c:v>2169</c:v>
                </c:pt>
                <c:pt idx="10">
                  <c:v>2072</c:v>
                </c:pt>
                <c:pt idx="11">
                  <c:v>2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E-4951-944D-23964DEEB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21541960"/>
        <c:axId val="1221550816"/>
      </c:barChart>
      <c:catAx>
        <c:axId val="1221541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1550816"/>
        <c:crosses val="autoZero"/>
        <c:auto val="1"/>
        <c:lblAlgn val="ctr"/>
        <c:lblOffset val="100"/>
        <c:noMultiLvlLbl val="0"/>
      </c:catAx>
      <c:valAx>
        <c:axId val="1221550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1541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v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0</c:v>
                </c:pt>
                <c:pt idx="1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E-4951-944D-23964DEEB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21541960"/>
        <c:axId val="1221550816"/>
      </c:barChart>
      <c:catAx>
        <c:axId val="1221541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1550816"/>
        <c:crosses val="autoZero"/>
        <c:auto val="1"/>
        <c:lblAlgn val="ctr"/>
        <c:lblOffset val="100"/>
        <c:noMultiLvlLbl val="0"/>
      </c:catAx>
      <c:valAx>
        <c:axId val="1221550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221541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Kun medlem</c:v>
                </c:pt>
                <c:pt idx="1">
                  <c:v>Medlem med barn</c:v>
                </c:pt>
                <c:pt idx="2">
                  <c:v>Med partner</c:v>
                </c:pt>
                <c:pt idx="3">
                  <c:v>Famile</c:v>
                </c:pt>
                <c:pt idx="4">
                  <c:v>Special Famili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7</c:v>
                </c:pt>
                <c:pt idx="1">
                  <c:v>1</c:v>
                </c:pt>
                <c:pt idx="2">
                  <c:v>32</c:v>
                </c:pt>
                <c:pt idx="3">
                  <c:v>24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DF-42E6-959B-D97877FF8C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Kun medlem</c:v>
                </c:pt>
                <c:pt idx="1">
                  <c:v>Medlem med barn</c:v>
                </c:pt>
                <c:pt idx="2">
                  <c:v>Med partner</c:v>
                </c:pt>
                <c:pt idx="3">
                  <c:v>Famile</c:v>
                </c:pt>
                <c:pt idx="4">
                  <c:v>Special Famili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2</c:v>
                </c:pt>
                <c:pt idx="1">
                  <c:v>2</c:v>
                </c:pt>
                <c:pt idx="2">
                  <c:v>42</c:v>
                </c:pt>
                <c:pt idx="3">
                  <c:v>3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DF-42E6-959B-D97877FF8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5811424"/>
        <c:axId val="655811752"/>
      </c:barChart>
      <c:catAx>
        <c:axId val="655811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5811752"/>
        <c:crosses val="autoZero"/>
        <c:auto val="1"/>
        <c:lblAlgn val="ctr"/>
        <c:lblOffset val="100"/>
        <c:noMultiLvlLbl val="0"/>
      </c:catAx>
      <c:valAx>
        <c:axId val="655811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581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Kultur </c:v>
                </c:pt>
                <c:pt idx="1">
                  <c:v>Familie</c:v>
                </c:pt>
                <c:pt idx="2">
                  <c:v>Sport tilskuer</c:v>
                </c:pt>
                <c:pt idx="3">
                  <c:v>Action / Spa</c:v>
                </c:pt>
                <c:pt idx="4">
                  <c:v>Mad / Drikk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4</c:v>
                </c:pt>
                <c:pt idx="1">
                  <c:v>13</c:v>
                </c:pt>
                <c:pt idx="2">
                  <c:v>6</c:v>
                </c:pt>
                <c:pt idx="3">
                  <c:v>41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CF-4AB9-9F86-DF310127CA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 partn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Kultur </c:v>
                </c:pt>
                <c:pt idx="1">
                  <c:v>Familie</c:v>
                </c:pt>
                <c:pt idx="2">
                  <c:v>Sport tilskuer</c:v>
                </c:pt>
                <c:pt idx="3">
                  <c:v>Action / Spa</c:v>
                </c:pt>
                <c:pt idx="4">
                  <c:v>Mad / Drikk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3</c:v>
                </c:pt>
                <c:pt idx="3">
                  <c:v>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CF-4AB9-9F86-DF310127CA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amili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Kultur </c:v>
                </c:pt>
                <c:pt idx="1">
                  <c:v>Familie</c:v>
                </c:pt>
                <c:pt idx="2">
                  <c:v>Sport tilskuer</c:v>
                </c:pt>
                <c:pt idx="3">
                  <c:v>Action / Spa</c:v>
                </c:pt>
                <c:pt idx="4">
                  <c:v>Mad / Drikk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1</c:v>
                </c:pt>
                <c:pt idx="1">
                  <c:v>13</c:v>
                </c:pt>
                <c:pt idx="2">
                  <c:v>6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CF-4AB9-9F86-DF310127CA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5648184"/>
        <c:axId val="465648512"/>
      </c:barChart>
      <c:catAx>
        <c:axId val="465648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648512"/>
        <c:crosses val="autoZero"/>
        <c:auto val="1"/>
        <c:lblAlgn val="ctr"/>
        <c:lblOffset val="100"/>
        <c:noMultiLvlLbl val="0"/>
      </c:catAx>
      <c:valAx>
        <c:axId val="465648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648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52663165791448"/>
          <c:y val="3.3226837060702875E-2"/>
          <c:w val="0.87396849212303074"/>
          <c:h val="0.9335463258785943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8.28957239309827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887-4855-9042-F3BA8B0A58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848</c:v>
                </c:pt>
                <c:pt idx="1">
                  <c:v>2126</c:v>
                </c:pt>
                <c:pt idx="2">
                  <c:v>-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87-4855-9042-F3BA8B0A585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.1275318829707426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87-4855-9042-F3BA8B0A58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782.375</c:v>
                </c:pt>
                <c:pt idx="1">
                  <c:v>2235.8209999999999</c:v>
                </c:pt>
                <c:pt idx="2">
                  <c:v>-453.445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87-4855-9042-F3BA8B0A58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94328160"/>
        <c:axId val="1"/>
      </c:barChart>
      <c:catAx>
        <c:axId val="994328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235.8209999999999"/>
          <c:min val="-453.44599999999991"/>
        </c:scaling>
        <c:delete val="1"/>
        <c:axPos val="t"/>
        <c:numFmt formatCode="General" sourceLinked="1"/>
        <c:majorTickMark val="out"/>
        <c:minorTickMark val="none"/>
        <c:tickLblPos val="nextTo"/>
        <c:crossAx val="994328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03983949555747E-2"/>
          <c:y val="6.8511198945981552E-2"/>
          <c:w val="0.97019203210088856"/>
          <c:h val="0.86297760210803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02898550724637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7FB-40AD-8674-2DD00BFEF445}"/>
                </c:ext>
              </c:extLst>
            </c:dLbl>
            <c:dLbl>
              <c:idx val="1"/>
              <c:layout>
                <c:manualLayout>
                  <c:x val="0"/>
                  <c:y val="-0.332015810276679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7FB-40AD-8674-2DD00BFEF4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47.37099999999998</c:v>
                </c:pt>
                <c:pt idx="1">
                  <c:v>832.34400000000005</c:v>
                </c:pt>
                <c:pt idx="2">
                  <c:v>1211.8599999999999</c:v>
                </c:pt>
                <c:pt idx="3">
                  <c:v>1605.999</c:v>
                </c:pt>
                <c:pt idx="4">
                  <c:v>1152.55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B-40AD-8674-2DD00BFEF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6679136"/>
        <c:axId val="1"/>
      </c:barChart>
      <c:catAx>
        <c:axId val="1006679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6679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62384775498066E-2"/>
          <c:y val="7.6470588235294124E-2"/>
          <c:w val="0.96907523044900379"/>
          <c:h val="0.8470588235294117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88.904</c:v>
                </c:pt>
                <c:pt idx="1">
                  <c:v>1951.1310000000001</c:v>
                </c:pt>
                <c:pt idx="2">
                  <c:v>1379.1120000000001</c:v>
                </c:pt>
                <c:pt idx="3">
                  <c:v>2156.650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8F-4074-8C46-277CE803D86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7.352941176470588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58F-4074-8C46-277CE803D86D}"/>
                </c:ext>
              </c:extLst>
            </c:dLbl>
            <c:dLbl>
              <c:idx val="3"/>
              <c:layout>
                <c:manualLayout>
                  <c:x val="0"/>
                  <c:y val="2.941176470588235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58F-4074-8C46-277CE803D8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391.424</c:v>
                </c:pt>
                <c:pt idx="1">
                  <c:v>1054.3979999999999</c:v>
                </c:pt>
                <c:pt idx="2">
                  <c:v>107.42700000000001</c:v>
                </c:pt>
                <c:pt idx="3">
                  <c:v>79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58F-4074-8C46-277CE803D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00402992"/>
        <c:axId val="1"/>
      </c:barChart>
      <c:catAx>
        <c:axId val="900402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88.9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0402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55971896955503E-2"/>
          <c:y val="6.8511198945981552E-2"/>
          <c:w val="0.95128805620608903"/>
          <c:h val="0.86297760210803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0.243741765480895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E8F-4CA1-ADCA-3BE4F4D94E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05.999</c:v>
                </c:pt>
                <c:pt idx="1">
                  <c:v>1152.5530000000001</c:v>
                </c:pt>
                <c:pt idx="2">
                  <c:v>496.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8F-4CA1-ADCA-3BE4F4D94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8331640"/>
        <c:axId val="1"/>
      </c:barChart>
      <c:catAx>
        <c:axId val="948331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8331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Resultat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13-04-2026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 dirty="0"/>
              <a:t>Kun 3,7% af udgifter på andet end events og aktiviteter</a:t>
            </a:r>
          </a:p>
          <a:p>
            <a:r>
              <a:rPr lang="da-DK" dirty="0"/>
              <a:t>Husk at under events og aktiviteter ligger der: eventomkostninger inkl. deltagers egenbetaling, SGRE julefrokost tilskud + MB omkostninger, </a:t>
            </a:r>
            <a:r>
              <a:rPr lang="da-DK" dirty="0" err="1"/>
              <a:t>eventmakeraften</a:t>
            </a:r>
            <a:r>
              <a:rPr lang="da-DK"/>
              <a:t>, generalforsamling.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74055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5130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998974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35861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14762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53906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845565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1096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34808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3543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44133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t>12</a:t>
            </a:fld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50324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554613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31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 dirty="0"/>
              <a:t>Vi har egentlig </a:t>
            </a:r>
            <a:r>
              <a:rPr lang="da-DK" dirty="0" err="1"/>
              <a:t>remt</a:t>
            </a:r>
            <a:r>
              <a:rPr lang="da-DK" dirty="0"/>
              <a:t> vores budget meget godt</a:t>
            </a:r>
          </a:p>
          <a:p>
            <a:r>
              <a:rPr lang="da-DK" dirty="0"/>
              <a:t>For første gang er det lykkedes at komme ned med egenkapital</a:t>
            </a:r>
          </a:p>
          <a:p>
            <a:r>
              <a:rPr lang="da-DK" dirty="0"/>
              <a:t>Som sådan har vi altså på en god måde brugt flere penge end vi troede vi kunne (på eve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479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  <a:endParaRPr lang="da-DK" noProof="0" dirty="0"/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 dirty="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  <a:endParaRPr lang="da-DK" sz="1000" b="0" dirty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  <a:endParaRPr lang="da-DK" b="0" dirty="0">
              <a:solidFill>
                <a:schemeClr val="bg1"/>
              </a:solidFill>
            </a:endParaRP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  <a:endParaRPr lang="da-DK" sz="1000" dirty="0"/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 dirty="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  <a:endParaRPr lang="da-DK" sz="1000" b="0" dirty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  <a:endParaRPr lang="da-DK" b="0" dirty="0">
              <a:solidFill>
                <a:schemeClr val="bg1"/>
              </a:solidFill>
            </a:endParaRP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  <a:endParaRPr lang="da-DK" sz="100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  <a:endParaRPr lang="da-DK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  <a:endParaRPr lang="da-DK" dirty="0"/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  <a:endParaRPr lang="da-DK" noProof="0" dirty="0"/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  <a:endParaRPr lang="da-DK" dirty="0"/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  <a:endParaRPr lang="da-DK" dirty="0"/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  <a:endParaRPr lang="da-DK" dirty="0"/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  <a:endParaRPr lang="da-DK" dirty="0"/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  <a:endParaRPr lang="da-DK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  <a:endParaRPr lang="da-DK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  <a:endParaRPr lang="da-DK" noProof="0" dirty="0"/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  <a:endParaRPr lang="da-DK" sz="1400" dirty="0"/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  <a:endParaRPr lang="da-DK" sz="1400" dirty="0"/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  <a:endParaRPr lang="da-DK" sz="1400" dirty="0"/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  <a:endParaRPr lang="da-DK" sz="1400" dirty="0"/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  <a:endParaRPr lang="da-DK" sz="1400" dirty="0"/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  <a:endParaRPr lang="da-DK" sz="1400" dirty="0"/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  <a:endParaRPr lang="da-DK" sz="1400" b="1" dirty="0"/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  <a:endParaRPr lang="da-DK" sz="1400" b="1" dirty="0"/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  <a:endParaRPr lang="da-DK" sz="1400" b="1" dirty="0"/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  <a:endParaRPr lang="da-DK" sz="1400" b="1" dirty="0"/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  <a:endParaRPr lang="da-DK" sz="1400" b="1" dirty="0"/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  <a:endParaRPr lang="da-DK" sz="1400" b="1" dirty="0"/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  <a:endParaRPr lang="da-DK" sz="1400" dirty="0"/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  <a:endParaRPr lang="da-DK" sz="1400" dirty="0"/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  <a:endParaRPr lang="da-DK" sz="1400" dirty="0"/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  <a:endParaRPr lang="da-DK" sz="1400" dirty="0"/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  <a:endParaRPr lang="da-DK" sz="1400" dirty="0"/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  <a:endParaRPr lang="da-DK" sz="1400" dirty="0"/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  <a:endParaRPr lang="da-DK" sz="1400" b="1" dirty="0"/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  <a:endParaRPr lang="da-DK" sz="1400" b="1" dirty="0"/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  <a:endParaRPr lang="da-DK" sz="1400" b="1" dirty="0"/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  <a:endParaRPr lang="da-DK" sz="1400" b="1" dirty="0"/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  <a:endParaRPr lang="da-DK" sz="1400" b="1" dirty="0"/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  <a:endParaRPr lang="da-DK" sz="1400" b="1" dirty="0"/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989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58319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9714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9662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42108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4142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  <a:endParaRPr lang="da-DK" noProof="0" dirty="0"/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035098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973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19771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55357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10150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471430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55874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982203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45760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8718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22380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  <a:endParaRPr lang="da-DK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  <a:endParaRPr lang="da-DK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  <a:endParaRPr lang="da-D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  <a:endParaRPr lang="da-DK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  <a:endParaRPr lang="da-DK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  <a:endParaRPr lang="da-DK" dirty="0"/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  <a:endParaRPr lang="da-DK" sz="1000" b="0" dirty="0">
              <a:solidFill>
                <a:srgbClr val="3C3C3C"/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rgbClr val="3C3C3C"/>
                </a:solidFill>
              </a:rPr>
              <a:t>Creator Name | Department</a:t>
            </a:r>
            <a:endParaRPr lang="da-DK" b="0" dirty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5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338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408" userDrawn="1">
          <p15:clr>
            <a:srgbClr val="F26B43"/>
          </p15:clr>
        </p15:guide>
        <p15:guide id="6" orient="horz" pos="2387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pos="3761" userDrawn="1">
          <p15:clr>
            <a:srgbClr val="F26B43"/>
          </p15:clr>
        </p15:guide>
        <p15:guide id="9" pos="3942" userDrawn="1">
          <p15:clr>
            <a:srgbClr val="F26B43"/>
          </p15:clr>
        </p15:guide>
        <p15:guide id="10" pos="5669" userDrawn="1">
          <p15:clr>
            <a:srgbClr val="F26B43"/>
          </p15:clr>
        </p15:guide>
        <p15:guide id="11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8542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13-04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56869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1.xml"/><Relationship Id="rId6" Type="http://schemas.openxmlformats.org/officeDocument/2006/relationships/image" Target="../media/image15.gif"/><Relationship Id="rId5" Type="http://schemas.openxmlformats.org/officeDocument/2006/relationships/image" Target="../media/image13.jpeg"/><Relationship Id="rId4" Type="http://schemas.openxmlformats.org/officeDocument/2006/relationships/image" Target="../media/image9.emf"/><Relationship Id="rId9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2.xml"/><Relationship Id="rId6" Type="http://schemas.openxmlformats.org/officeDocument/2006/relationships/image" Target="../media/image14.svg"/><Relationship Id="rId5" Type="http://schemas.openxmlformats.org/officeDocument/2006/relationships/image" Target="../media/image13.jpeg"/><Relationship Id="rId10" Type="http://schemas.openxmlformats.org/officeDocument/2006/relationships/image" Target="../media/image21.svg"/><Relationship Id="rId4" Type="http://schemas.openxmlformats.org/officeDocument/2006/relationships/image" Target="../media/image9.emf"/><Relationship Id="rId9" Type="http://schemas.openxmlformats.org/officeDocument/2006/relationships/image" Target="../media/image20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moellebanden.energy@siemensgamesa.com" TargetMode="External"/><Relationship Id="rId3" Type="http://schemas.openxmlformats.org/officeDocument/2006/relationships/tags" Target="../tags/tag95.xml"/><Relationship Id="rId7" Type="http://schemas.openxmlformats.org/officeDocument/2006/relationships/image" Target="../media/image22.emf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tags" Target="../tags/tag140.xml"/><Relationship Id="rId47" Type="http://schemas.openxmlformats.org/officeDocument/2006/relationships/tags" Target="../tags/tag145.xml"/><Relationship Id="rId50" Type="http://schemas.openxmlformats.org/officeDocument/2006/relationships/oleObject" Target="../embeddings/oleObject38.bin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53" Type="http://schemas.openxmlformats.org/officeDocument/2006/relationships/chart" Target="../charts/chart6.xml"/><Relationship Id="rId5" Type="http://schemas.openxmlformats.org/officeDocument/2006/relationships/tags" Target="../tags/tag103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4" Type="http://schemas.openxmlformats.org/officeDocument/2006/relationships/tags" Target="../tags/tag142.xml"/><Relationship Id="rId52" Type="http://schemas.openxmlformats.org/officeDocument/2006/relationships/chart" Target="../charts/chart5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tags" Target="../tags/tag141.xml"/><Relationship Id="rId48" Type="http://schemas.openxmlformats.org/officeDocument/2006/relationships/slideLayout" Target="../slideLayouts/slideLayout6.xml"/><Relationship Id="rId8" Type="http://schemas.openxmlformats.org/officeDocument/2006/relationships/tags" Target="../tags/tag106.xml"/><Relationship Id="rId51" Type="http://schemas.openxmlformats.org/officeDocument/2006/relationships/image" Target="../media/image7.emf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tags" Target="../tags/tag144.xml"/><Relationship Id="rId20" Type="http://schemas.openxmlformats.org/officeDocument/2006/relationships/tags" Target="../tags/tag118.xml"/><Relationship Id="rId41" Type="http://schemas.openxmlformats.org/officeDocument/2006/relationships/tags" Target="../tags/tag139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49" Type="http://schemas.openxmlformats.org/officeDocument/2006/relationships/notesSlide" Target="../notesSlides/notesSlide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148.xml"/><Relationship Id="rId21" Type="http://schemas.openxmlformats.org/officeDocument/2006/relationships/tags" Target="../tags/tag166.xm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2" Type="http://schemas.openxmlformats.org/officeDocument/2006/relationships/tags" Target="../tags/tag147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29" Type="http://schemas.openxmlformats.org/officeDocument/2006/relationships/image" Target="../media/image7.emf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5" Type="http://schemas.openxmlformats.org/officeDocument/2006/relationships/tags" Target="../tags/tag150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oleObject" Target="../embeddings/oleObject39.bin"/><Relationship Id="rId10" Type="http://schemas.openxmlformats.org/officeDocument/2006/relationships/tags" Target="../tags/tag155.xml"/><Relationship Id="rId19" Type="http://schemas.openxmlformats.org/officeDocument/2006/relationships/tags" Target="../tags/tag164.xm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notesSlide" Target="../notesSlides/notesSlide10.xml"/><Relationship Id="rId30" Type="http://schemas.openxmlformats.org/officeDocument/2006/relationships/chart" Target="../charts/char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chart" Target="../charts/chart8.xml"/><Relationship Id="rId2" Type="http://schemas.openxmlformats.org/officeDocument/2006/relationships/tags" Target="../tags/tag172.xml"/><Relationship Id="rId16" Type="http://schemas.openxmlformats.org/officeDocument/2006/relationships/image" Target="../media/image7.emf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oleObject" Target="../embeddings/oleObject40.bin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notesSlide" Target="../notesSlides/notesSlide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jpe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0.JPG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JP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JP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JP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0.xml"/><Relationship Id="rId5" Type="http://schemas.openxmlformats.org/officeDocument/2006/relationships/image" Target="../media/image35.png"/><Relationship Id="rId4" Type="http://schemas.openxmlformats.org/officeDocument/2006/relationships/image" Target="../media/image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JP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5" Type="http://schemas.openxmlformats.org/officeDocument/2006/relationships/image" Target="../media/image13.jpeg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3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Relationship Id="rId5" Type="http://schemas.openxmlformats.org/officeDocument/2006/relationships/image" Target="../media/image13.jpeg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3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179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/>
          <a:lstStyle/>
          <a:p>
            <a:r>
              <a:rPr lang="da-DK"/>
              <a:t>Generalforsamling</a:t>
            </a:r>
            <a:r>
              <a:rPr lang="da-DK" noProof="0"/>
              <a:t> 2020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 dirty="0"/>
              <a:t>Herning, 20-02-202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61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FED3B5-ABCB-43EF-9925-A71A14C3ABCD}"/>
              </a:ext>
            </a:extLst>
          </p:cNvPr>
          <p:cNvSpPr txBox="1"/>
          <p:nvPr/>
        </p:nvSpPr>
        <p:spPr>
          <a:xfrm>
            <a:off x="1956391" y="1209926"/>
            <a:ext cx="8420986" cy="397557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da-DK" dirty="0"/>
          </a:p>
        </p:txBody>
      </p:sp>
      <p:pic>
        <p:nvPicPr>
          <p:cNvPr id="48130" name="Picture 2" descr="Related image">
            <a:extLst>
              <a:ext uri="{FF2B5EF4-FFF2-40B4-BE49-F238E27FC236}">
                <a16:creationId xmlns:a16="http://schemas.microsoft.com/office/drawing/2014/main" id="{401ACC03-E34B-4B95-945B-43817EC3D2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6"/>
          <a:stretch/>
        </p:blipFill>
        <p:spPr bwMode="auto">
          <a:xfrm>
            <a:off x="2084611" y="1244506"/>
            <a:ext cx="8150997" cy="3937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C4A1CD1-B51B-416E-AFC2-2A0268DC78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8175" y="3016512"/>
            <a:ext cx="2067844" cy="554267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D632F26-95B5-4E0F-88C8-44C85E9406C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0" b="24445"/>
          <a:stretch/>
        </p:blipFill>
        <p:spPr>
          <a:xfrm>
            <a:off x="1965664" y="1206027"/>
            <a:ext cx="8411713" cy="3975573"/>
          </a:xfrm>
          <a:prstGeom prst="rect">
            <a:avLst/>
          </a:prstGeom>
        </p:spPr>
      </p:pic>
      <p:pic>
        <p:nvPicPr>
          <p:cNvPr id="18" name="Graphic 17" descr="Smiling face with solid fill">
            <a:extLst>
              <a:ext uri="{FF2B5EF4-FFF2-40B4-BE49-F238E27FC236}">
                <a16:creationId xmlns:a16="http://schemas.microsoft.com/office/drawing/2014/main" id="{0006AE1C-9B7E-4821-9A71-CB7C1D69D5B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220592">
            <a:off x="9046297" y="1553192"/>
            <a:ext cx="914400" cy="9144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37D04834-C92C-4CD1-838B-F5D87EBB2F10}"/>
              </a:ext>
            </a:extLst>
          </p:cNvPr>
          <p:cNvSpPr/>
          <p:nvPr/>
        </p:nvSpPr>
        <p:spPr>
          <a:xfrm>
            <a:off x="9385469" y="1954121"/>
            <a:ext cx="215732" cy="20785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2970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  <p:pic>
        <p:nvPicPr>
          <p:cNvPr id="16" name="Graphic 15" descr="Smiling face with solid fill">
            <a:extLst>
              <a:ext uri="{FF2B5EF4-FFF2-40B4-BE49-F238E27FC236}">
                <a16:creationId xmlns:a16="http://schemas.microsoft.com/office/drawing/2014/main" id="{FA790790-0871-46EA-8C30-7DBD5DB9F85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220592">
            <a:off x="10573060" y="3412611"/>
            <a:ext cx="914400" cy="914400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EA51929E-776D-4345-A6FB-F3A21E2CD871}"/>
              </a:ext>
            </a:extLst>
          </p:cNvPr>
          <p:cNvSpPr/>
          <p:nvPr/>
        </p:nvSpPr>
        <p:spPr>
          <a:xfrm>
            <a:off x="10912232" y="3813540"/>
            <a:ext cx="215732" cy="20785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8" name="Graphic 17" descr="Smiling face with solid fill">
            <a:extLst>
              <a:ext uri="{FF2B5EF4-FFF2-40B4-BE49-F238E27FC236}">
                <a16:creationId xmlns:a16="http://schemas.microsoft.com/office/drawing/2014/main" id="{35EB2087-530E-4232-9DF1-9B384189060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93836">
            <a:off x="9656100" y="3015823"/>
            <a:ext cx="914400" cy="914400"/>
          </a:xfrm>
          <a:prstGeom prst="rect">
            <a:avLst/>
          </a:prstGeom>
        </p:spPr>
      </p:pic>
      <p:pic>
        <p:nvPicPr>
          <p:cNvPr id="19" name="Graphic 18" descr="Smiling face with solid fill">
            <a:extLst>
              <a:ext uri="{FF2B5EF4-FFF2-40B4-BE49-F238E27FC236}">
                <a16:creationId xmlns:a16="http://schemas.microsoft.com/office/drawing/2014/main" id="{857B2C97-7EED-448C-93D9-3C5D62CA9F4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436268">
            <a:off x="8839345" y="3285074"/>
            <a:ext cx="914400" cy="914400"/>
          </a:xfrm>
          <a:prstGeom prst="rect">
            <a:avLst/>
          </a:prstGeom>
        </p:spPr>
      </p:pic>
      <p:pic>
        <p:nvPicPr>
          <p:cNvPr id="20" name="Graphic 19" descr="Smiling face with solid fill">
            <a:extLst>
              <a:ext uri="{FF2B5EF4-FFF2-40B4-BE49-F238E27FC236}">
                <a16:creationId xmlns:a16="http://schemas.microsoft.com/office/drawing/2014/main" id="{405AE601-8BDC-46DA-87EB-0B326402BC3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436268">
            <a:off x="10984299" y="5234377"/>
            <a:ext cx="914400" cy="914400"/>
          </a:xfrm>
          <a:prstGeom prst="rect">
            <a:avLst/>
          </a:prstGeom>
        </p:spPr>
      </p:pic>
      <p:pic>
        <p:nvPicPr>
          <p:cNvPr id="21" name="Graphic 20" descr="Smiling face with solid fill">
            <a:extLst>
              <a:ext uri="{FF2B5EF4-FFF2-40B4-BE49-F238E27FC236}">
                <a16:creationId xmlns:a16="http://schemas.microsoft.com/office/drawing/2014/main" id="{8BD55566-215C-4442-BAB9-BD359C9B353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629240">
            <a:off x="9705252" y="4755927"/>
            <a:ext cx="914400" cy="914400"/>
          </a:xfrm>
          <a:prstGeom prst="rect">
            <a:avLst/>
          </a:prstGeom>
        </p:spPr>
      </p:pic>
      <p:pic>
        <p:nvPicPr>
          <p:cNvPr id="22" name="Graphic 21" descr="Smiling face with solid fill">
            <a:extLst>
              <a:ext uri="{FF2B5EF4-FFF2-40B4-BE49-F238E27FC236}">
                <a16:creationId xmlns:a16="http://schemas.microsoft.com/office/drawing/2014/main" id="{D96D13B7-1621-4042-9FCE-FE18E25C02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57668" y="5180044"/>
            <a:ext cx="914400" cy="914400"/>
          </a:xfrm>
          <a:prstGeom prst="rect">
            <a:avLst/>
          </a:prstGeom>
        </p:spPr>
      </p:pic>
      <p:pic>
        <p:nvPicPr>
          <p:cNvPr id="23" name="Graphic 22" descr="Smiling face with solid fill">
            <a:extLst>
              <a:ext uri="{FF2B5EF4-FFF2-40B4-BE49-F238E27FC236}">
                <a16:creationId xmlns:a16="http://schemas.microsoft.com/office/drawing/2014/main" id="{534EC5CE-3028-47AC-A238-EF76691E4DC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09448" y="4303055"/>
            <a:ext cx="914400" cy="914400"/>
          </a:xfrm>
          <a:prstGeom prst="rect">
            <a:avLst/>
          </a:prstGeom>
        </p:spPr>
      </p:pic>
      <p:pic>
        <p:nvPicPr>
          <p:cNvPr id="24" name="Graphic 23" descr="Smiling face with solid fill">
            <a:extLst>
              <a:ext uri="{FF2B5EF4-FFF2-40B4-BE49-F238E27FC236}">
                <a16:creationId xmlns:a16="http://schemas.microsoft.com/office/drawing/2014/main" id="{FEA26181-E0A2-4A57-AE6C-4716BCC9EEE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0736137">
            <a:off x="6950067" y="5560206"/>
            <a:ext cx="914400" cy="914400"/>
          </a:xfrm>
          <a:prstGeom prst="rect">
            <a:avLst/>
          </a:prstGeom>
        </p:spPr>
      </p:pic>
      <p:pic>
        <p:nvPicPr>
          <p:cNvPr id="25" name="Graphic 24" descr="Smiling face with solid fill">
            <a:extLst>
              <a:ext uri="{FF2B5EF4-FFF2-40B4-BE49-F238E27FC236}">
                <a16:creationId xmlns:a16="http://schemas.microsoft.com/office/drawing/2014/main" id="{198D20CC-5953-45C1-858E-AE94F3A967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0736137">
            <a:off x="4573986" y="4732185"/>
            <a:ext cx="914400" cy="914400"/>
          </a:xfrm>
          <a:prstGeom prst="rect">
            <a:avLst/>
          </a:prstGeom>
        </p:spPr>
      </p:pic>
      <p:pic>
        <p:nvPicPr>
          <p:cNvPr id="26" name="Graphic 25" descr="Smiling face with solid fill">
            <a:extLst>
              <a:ext uri="{FF2B5EF4-FFF2-40B4-BE49-F238E27FC236}">
                <a16:creationId xmlns:a16="http://schemas.microsoft.com/office/drawing/2014/main" id="{E92243B3-B69A-41B9-AB98-2CA999B0FF3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8825">
            <a:off x="6128998" y="3564190"/>
            <a:ext cx="914400" cy="914400"/>
          </a:xfrm>
          <a:prstGeom prst="rect">
            <a:avLst/>
          </a:prstGeom>
        </p:spPr>
      </p:pic>
      <p:pic>
        <p:nvPicPr>
          <p:cNvPr id="28" name="Graphic 27" descr="Smiling face with solid fill">
            <a:extLst>
              <a:ext uri="{FF2B5EF4-FFF2-40B4-BE49-F238E27FC236}">
                <a16:creationId xmlns:a16="http://schemas.microsoft.com/office/drawing/2014/main" id="{0A96F87D-1E5C-41A1-86A6-74F410E3758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31153">
            <a:off x="6759573" y="4936920"/>
            <a:ext cx="914400" cy="914400"/>
          </a:xfrm>
          <a:prstGeom prst="rect">
            <a:avLst/>
          </a:prstGeom>
        </p:spPr>
      </p:pic>
      <p:pic>
        <p:nvPicPr>
          <p:cNvPr id="29" name="Graphic 28" descr="Smiling face with solid fill">
            <a:extLst>
              <a:ext uri="{FF2B5EF4-FFF2-40B4-BE49-F238E27FC236}">
                <a16:creationId xmlns:a16="http://schemas.microsoft.com/office/drawing/2014/main" id="{C7FD0154-0433-43D9-87CA-13FAE81AAFB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012201">
            <a:off x="9415454" y="5364755"/>
            <a:ext cx="914400" cy="914400"/>
          </a:xfrm>
          <a:prstGeom prst="rect">
            <a:avLst/>
          </a:prstGeom>
        </p:spPr>
      </p:pic>
      <p:pic>
        <p:nvPicPr>
          <p:cNvPr id="30" name="Graphic 29" descr="Smiling face with solid fill">
            <a:extLst>
              <a:ext uri="{FF2B5EF4-FFF2-40B4-BE49-F238E27FC236}">
                <a16:creationId xmlns:a16="http://schemas.microsoft.com/office/drawing/2014/main" id="{B073FA6C-9944-4672-8C6D-32B845E3D7F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090126">
            <a:off x="10632359" y="4695022"/>
            <a:ext cx="914400" cy="914400"/>
          </a:xfrm>
          <a:prstGeom prst="rect">
            <a:avLst/>
          </a:prstGeom>
        </p:spPr>
      </p:pic>
      <p:pic>
        <p:nvPicPr>
          <p:cNvPr id="31" name="Graphic 30" descr="Smiling face with solid fill">
            <a:extLst>
              <a:ext uri="{FF2B5EF4-FFF2-40B4-BE49-F238E27FC236}">
                <a16:creationId xmlns:a16="http://schemas.microsoft.com/office/drawing/2014/main" id="{D751676E-F639-43C5-90C9-470491CD861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090126">
            <a:off x="9465691" y="3708195"/>
            <a:ext cx="914400" cy="914400"/>
          </a:xfrm>
          <a:prstGeom prst="rect">
            <a:avLst/>
          </a:prstGeom>
        </p:spPr>
      </p:pic>
      <p:pic>
        <p:nvPicPr>
          <p:cNvPr id="32" name="Graphic 31" descr="Smiling face with solid fill">
            <a:extLst>
              <a:ext uri="{FF2B5EF4-FFF2-40B4-BE49-F238E27FC236}">
                <a16:creationId xmlns:a16="http://schemas.microsoft.com/office/drawing/2014/main" id="{256FEEC0-9F36-4F93-B127-30238A1E2C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33440">
            <a:off x="8563899" y="4372012"/>
            <a:ext cx="914400" cy="914400"/>
          </a:xfrm>
          <a:prstGeom prst="rect">
            <a:avLst/>
          </a:prstGeom>
        </p:spPr>
      </p:pic>
      <p:pic>
        <p:nvPicPr>
          <p:cNvPr id="33" name="Graphic 32" descr="Smiling face with solid fill">
            <a:extLst>
              <a:ext uri="{FF2B5EF4-FFF2-40B4-BE49-F238E27FC236}">
                <a16:creationId xmlns:a16="http://schemas.microsoft.com/office/drawing/2014/main" id="{A7B2FA79-274D-41B6-A501-B3A529A6614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287795">
            <a:off x="7791934" y="5035236"/>
            <a:ext cx="914400" cy="914400"/>
          </a:xfrm>
          <a:prstGeom prst="rect">
            <a:avLst/>
          </a:prstGeom>
        </p:spPr>
      </p:pic>
      <p:pic>
        <p:nvPicPr>
          <p:cNvPr id="34" name="Graphic 33" descr="Smiling face with solid fill">
            <a:extLst>
              <a:ext uri="{FF2B5EF4-FFF2-40B4-BE49-F238E27FC236}">
                <a16:creationId xmlns:a16="http://schemas.microsoft.com/office/drawing/2014/main" id="{40275566-FA1F-4147-AF68-BF15F0CFE02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22589">
            <a:off x="6381626" y="4187150"/>
            <a:ext cx="914400" cy="914400"/>
          </a:xfrm>
          <a:prstGeom prst="rect">
            <a:avLst/>
          </a:prstGeom>
        </p:spPr>
      </p:pic>
      <p:pic>
        <p:nvPicPr>
          <p:cNvPr id="35" name="Graphic 34" descr="Smiling face with solid fill">
            <a:extLst>
              <a:ext uri="{FF2B5EF4-FFF2-40B4-BE49-F238E27FC236}">
                <a16:creationId xmlns:a16="http://schemas.microsoft.com/office/drawing/2014/main" id="{0C45253B-43AB-4ADE-9F16-66EB3F5BF5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848776">
            <a:off x="7755366" y="3691615"/>
            <a:ext cx="914400" cy="914400"/>
          </a:xfrm>
          <a:prstGeom prst="rect">
            <a:avLst/>
          </a:prstGeom>
        </p:spPr>
      </p:pic>
      <p:pic>
        <p:nvPicPr>
          <p:cNvPr id="36" name="Graphic 35" descr="Smiling face with solid fill">
            <a:extLst>
              <a:ext uri="{FF2B5EF4-FFF2-40B4-BE49-F238E27FC236}">
                <a16:creationId xmlns:a16="http://schemas.microsoft.com/office/drawing/2014/main" id="{4D69B159-E00B-4ABA-8DA6-6F425671A75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848776">
            <a:off x="11160686" y="4065460"/>
            <a:ext cx="914400" cy="914400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7FA9F51E-1981-4388-A176-458E5794DDEE}"/>
              </a:ext>
            </a:extLst>
          </p:cNvPr>
          <p:cNvSpPr/>
          <p:nvPr/>
        </p:nvSpPr>
        <p:spPr>
          <a:xfrm>
            <a:off x="6696568" y="4591108"/>
            <a:ext cx="215732" cy="20785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" name="Graphic 6" descr="Grinning face with solid fill">
            <a:extLst>
              <a:ext uri="{FF2B5EF4-FFF2-40B4-BE49-F238E27FC236}">
                <a16:creationId xmlns:a16="http://schemas.microsoft.com/office/drawing/2014/main" id="{9E9B19D3-250C-426D-A68D-04E5B28C1C2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29817">
            <a:off x="8382145" y="3716828"/>
            <a:ext cx="914400" cy="914400"/>
          </a:xfrm>
          <a:prstGeom prst="rect">
            <a:avLst/>
          </a:prstGeom>
        </p:spPr>
      </p:pic>
      <p:pic>
        <p:nvPicPr>
          <p:cNvPr id="38" name="Graphic 37" descr="Grinning face with solid fill">
            <a:extLst>
              <a:ext uri="{FF2B5EF4-FFF2-40B4-BE49-F238E27FC236}">
                <a16:creationId xmlns:a16="http://schemas.microsoft.com/office/drawing/2014/main" id="{7E9518FE-538D-4A94-A9CF-43E2580CCC2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669996">
            <a:off x="6238082" y="5335742"/>
            <a:ext cx="914400" cy="914400"/>
          </a:xfrm>
          <a:prstGeom prst="rect">
            <a:avLst/>
          </a:prstGeom>
        </p:spPr>
      </p:pic>
      <p:pic>
        <p:nvPicPr>
          <p:cNvPr id="39" name="Graphic 38" descr="Grinning face with solid fill">
            <a:extLst>
              <a:ext uri="{FF2B5EF4-FFF2-40B4-BE49-F238E27FC236}">
                <a16:creationId xmlns:a16="http://schemas.microsoft.com/office/drawing/2014/main" id="{216EEEEB-F31A-46C7-9245-77504E0E37B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66372">
            <a:off x="10262364" y="5391019"/>
            <a:ext cx="914400" cy="914400"/>
          </a:xfrm>
          <a:prstGeom prst="rect">
            <a:avLst/>
          </a:prstGeom>
        </p:spPr>
      </p:pic>
      <p:pic>
        <p:nvPicPr>
          <p:cNvPr id="43" name="Graphic 42" descr="Sunglasses face with solid fill">
            <a:extLst>
              <a:ext uri="{FF2B5EF4-FFF2-40B4-BE49-F238E27FC236}">
                <a16:creationId xmlns:a16="http://schemas.microsoft.com/office/drawing/2014/main" id="{3830BBBE-BDAE-44A9-9948-545F7D2E350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81687">
            <a:off x="5161090" y="4445222"/>
            <a:ext cx="914400" cy="914400"/>
          </a:xfrm>
          <a:prstGeom prst="rect">
            <a:avLst/>
          </a:prstGeom>
        </p:spPr>
      </p:pic>
      <p:pic>
        <p:nvPicPr>
          <p:cNvPr id="40" name="Graphic 39" descr="Grinning face with solid fill">
            <a:extLst>
              <a:ext uri="{FF2B5EF4-FFF2-40B4-BE49-F238E27FC236}">
                <a16:creationId xmlns:a16="http://schemas.microsoft.com/office/drawing/2014/main" id="{6C69DFFA-6EFE-43FD-9FC0-7CCC5E0133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476288">
            <a:off x="10213564" y="4181171"/>
            <a:ext cx="914400" cy="914400"/>
          </a:xfrm>
          <a:prstGeom prst="rect">
            <a:avLst/>
          </a:prstGeom>
        </p:spPr>
      </p:pic>
      <p:pic>
        <p:nvPicPr>
          <p:cNvPr id="41" name="Graphic 40" descr="Winking face with solid fill">
            <a:extLst>
              <a:ext uri="{FF2B5EF4-FFF2-40B4-BE49-F238E27FC236}">
                <a16:creationId xmlns:a16="http://schemas.microsoft.com/office/drawing/2014/main" id="{E78FFEE0-D311-4C82-BF00-E14AF6FF6ED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8355" y="3471341"/>
            <a:ext cx="914400" cy="914400"/>
          </a:xfrm>
          <a:prstGeom prst="rect">
            <a:avLst/>
          </a:prstGeom>
        </p:spPr>
      </p:pic>
      <p:pic>
        <p:nvPicPr>
          <p:cNvPr id="27" name="Graphic 26" descr="Smiling face with solid fill">
            <a:extLst>
              <a:ext uri="{FF2B5EF4-FFF2-40B4-BE49-F238E27FC236}">
                <a16:creationId xmlns:a16="http://schemas.microsoft.com/office/drawing/2014/main" id="{5AA4347D-3925-472D-B950-EAF1E3547BD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431153">
            <a:off x="5153443" y="506381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58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141046-B6C0-4818-B717-5F36ED741F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141046-B6C0-4818-B717-5F36ED741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2F5F04-4987-43F8-91E0-8A14FA480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15D9B90-38D2-4E45-96DD-D92E9D2EA7D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29C16C-C6FD-4DEB-B111-9F965DB97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6415088" cy="446405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øllebandens</a:t>
            </a:r>
            <a:r>
              <a:rPr lang="de-DE" dirty="0"/>
              <a:t> </a:t>
            </a:r>
            <a:r>
              <a:rPr lang="de-DE" dirty="0" err="1"/>
              <a:t>Venner</a:t>
            </a:r>
            <a:r>
              <a:rPr lang="de-DE" dirty="0"/>
              <a:t> </a:t>
            </a:r>
            <a:r>
              <a:rPr lang="de-DE" dirty="0" err="1"/>
              <a:t>vil</a:t>
            </a:r>
            <a:r>
              <a:rPr lang="de-DE" dirty="0"/>
              <a:t> </a:t>
            </a:r>
            <a:r>
              <a:rPr lang="de-DE" dirty="0" err="1"/>
              <a:t>stå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- </a:t>
            </a:r>
            <a:r>
              <a:rPr lang="de-DE" dirty="0" err="1"/>
              <a:t>eller</a:t>
            </a:r>
            <a:r>
              <a:rPr lang="de-DE" dirty="0"/>
              <a:t> </a:t>
            </a:r>
            <a:r>
              <a:rPr lang="de-DE" dirty="0" err="1"/>
              <a:t>hjælpe</a:t>
            </a:r>
            <a:r>
              <a:rPr lang="de-DE" dirty="0"/>
              <a:t> </a:t>
            </a:r>
            <a:r>
              <a:rPr lang="de-DE" dirty="0" err="1"/>
              <a:t>til</a:t>
            </a:r>
            <a:r>
              <a:rPr lang="de-DE" dirty="0"/>
              <a:t> </a:t>
            </a:r>
            <a:r>
              <a:rPr lang="de-DE" dirty="0" err="1"/>
              <a:t>med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arrangementer</a:t>
            </a:r>
            <a:r>
              <a:rPr lang="de-DE" dirty="0"/>
              <a:t>, </a:t>
            </a:r>
            <a:r>
              <a:rPr lang="de-DE" dirty="0" err="1"/>
              <a:t>såsom</a:t>
            </a:r>
            <a:r>
              <a:rPr lang="de-DE" dirty="0"/>
              <a:t>:</a:t>
            </a:r>
          </a:p>
          <a:p>
            <a:pPr marL="465455" lvl="1" indent="-285750">
              <a:buFont typeface="Wingdings" panose="05000000000000000000" pitchFamily="2" charset="2"/>
              <a:buChar char="Ø"/>
            </a:pPr>
            <a:r>
              <a:rPr lang="de-DE" dirty="0"/>
              <a:t>Sommerfest/</a:t>
            </a:r>
            <a:r>
              <a:rPr lang="de-DE" dirty="0" err="1"/>
              <a:t>Høstfest</a:t>
            </a:r>
            <a:r>
              <a:rPr lang="de-DE" dirty="0"/>
              <a:t> </a:t>
            </a:r>
            <a:r>
              <a:rPr lang="de-DE" dirty="0" err="1"/>
              <a:t>eller</a:t>
            </a:r>
            <a:r>
              <a:rPr lang="de-DE" dirty="0"/>
              <a:t> </a:t>
            </a:r>
            <a:r>
              <a:rPr lang="de-DE" dirty="0" err="1"/>
              <a:t>lignende</a:t>
            </a:r>
            <a:endParaRPr lang="de-DE" dirty="0">
              <a:cs typeface="Arial"/>
            </a:endParaRPr>
          </a:p>
          <a:p>
            <a:pPr marL="465455" lvl="1" indent="-285750">
              <a:buFont typeface="Wingdings" panose="05000000000000000000" pitchFamily="2" charset="2"/>
              <a:buChar char="Ø"/>
            </a:pPr>
            <a:r>
              <a:rPr lang="de-DE" dirty="0" err="1"/>
              <a:t>Juletræsfest</a:t>
            </a:r>
            <a:endParaRPr lang="de-DE" dirty="0">
              <a:cs typeface="Arial"/>
            </a:endParaRPr>
          </a:p>
          <a:p>
            <a:pPr marL="465455" lvl="1" indent="-285750">
              <a:buFont typeface="Wingdings" panose="05000000000000000000" pitchFamily="2" charset="2"/>
              <a:buChar char="Ø"/>
            </a:pPr>
            <a:r>
              <a:rPr lang="de-DE" dirty="0" err="1"/>
              <a:t>Ekstraordinære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 a la gratis </a:t>
            </a:r>
            <a:r>
              <a:rPr lang="de-DE" dirty="0" err="1"/>
              <a:t>cirkus</a:t>
            </a:r>
            <a:r>
              <a:rPr lang="de-DE" dirty="0"/>
              <a:t> </a:t>
            </a:r>
            <a:r>
              <a:rPr lang="de-DE" dirty="0" err="1"/>
              <a:t>til</a:t>
            </a:r>
            <a:r>
              <a:rPr lang="de-DE" dirty="0"/>
              <a:t> alle</a:t>
            </a:r>
            <a:endParaRPr lang="de-DE" dirty="0">
              <a:cs typeface="Arial"/>
            </a:endParaRPr>
          </a:p>
          <a:p>
            <a:pPr marL="465455" lvl="1" indent="-285750">
              <a:buFont typeface="Wingdings" panose="05000000000000000000" pitchFamily="2" charset="2"/>
              <a:buChar char="Ø"/>
            </a:pPr>
            <a:r>
              <a:rPr lang="de-DE" dirty="0"/>
              <a:t>Og </a:t>
            </a:r>
            <a:r>
              <a:rPr lang="de-DE" dirty="0" err="1"/>
              <a:t>kun</a:t>
            </a:r>
            <a:r>
              <a:rPr lang="de-DE" dirty="0"/>
              <a:t> </a:t>
            </a:r>
            <a:r>
              <a:rPr lang="de-DE" dirty="0" err="1"/>
              <a:t>fantasien</a:t>
            </a:r>
            <a:r>
              <a:rPr lang="de-DE" dirty="0"/>
              <a:t> </a:t>
            </a:r>
            <a:r>
              <a:rPr lang="de-DE" dirty="0" err="1"/>
              <a:t>sætter</a:t>
            </a:r>
            <a:r>
              <a:rPr lang="de-DE" dirty="0"/>
              <a:t> </a:t>
            </a:r>
            <a:r>
              <a:rPr lang="de-DE" dirty="0" err="1"/>
              <a:t>grænser</a:t>
            </a:r>
            <a:r>
              <a:rPr lang="de-DE" dirty="0"/>
              <a:t>…</a:t>
            </a:r>
            <a:endParaRPr lang="de-DE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dirty="0" err="1"/>
              <a:t>Skriv</a:t>
            </a:r>
            <a:r>
              <a:rPr lang="de-DE" dirty="0"/>
              <a:t> </a:t>
            </a:r>
            <a:r>
              <a:rPr lang="de-DE" dirty="0" err="1"/>
              <a:t>til</a:t>
            </a:r>
            <a:r>
              <a:rPr lang="de-DE" dirty="0"/>
              <a:t> </a:t>
            </a:r>
            <a:r>
              <a:rPr lang="de-DE" dirty="0">
                <a:hlinkClick r:id="rId8"/>
              </a:rPr>
              <a:t>moellebanden.energy@siemensgamesa.com</a:t>
            </a:r>
            <a:r>
              <a:rPr lang="de-DE" dirty="0"/>
              <a:t> </a:t>
            </a:r>
            <a:r>
              <a:rPr lang="de-DE" dirty="0" err="1"/>
              <a:t>eller</a:t>
            </a:r>
            <a:r>
              <a:rPr lang="de-DE" dirty="0"/>
              <a:t> </a:t>
            </a:r>
            <a:r>
              <a:rPr lang="de-DE" dirty="0" err="1"/>
              <a:t>bliv</a:t>
            </a:r>
            <a:r>
              <a:rPr lang="de-DE" dirty="0"/>
              <a:t> </a:t>
            </a:r>
            <a:r>
              <a:rPr lang="de-DE" dirty="0" err="1"/>
              <a:t>skrevet</a:t>
            </a:r>
            <a:r>
              <a:rPr lang="de-DE" dirty="0"/>
              <a:t> </a:t>
            </a:r>
            <a:r>
              <a:rPr lang="de-DE" dirty="0" err="1"/>
              <a:t>op</a:t>
            </a:r>
            <a:r>
              <a:rPr lang="de-DE" dirty="0"/>
              <a:t> </a:t>
            </a:r>
            <a:r>
              <a:rPr lang="de-DE" dirty="0" err="1"/>
              <a:t>hos</a:t>
            </a:r>
            <a:r>
              <a:rPr lang="de-DE" dirty="0"/>
              <a:t> </a:t>
            </a:r>
            <a:r>
              <a:rPr lang="de-DE" dirty="0" err="1"/>
              <a:t>bestyrelsen</a:t>
            </a:r>
            <a:r>
              <a:rPr lang="de-DE" dirty="0"/>
              <a:t> </a:t>
            </a:r>
            <a:r>
              <a:rPr lang="de-DE" dirty="0" err="1"/>
              <a:t>efter</a:t>
            </a:r>
            <a:r>
              <a:rPr lang="de-DE" dirty="0"/>
              <a:t> </a:t>
            </a:r>
            <a:r>
              <a:rPr lang="de-DE" dirty="0" err="1"/>
              <a:t>mødet</a:t>
            </a:r>
            <a:r>
              <a:rPr lang="de-DE" dirty="0"/>
              <a:t>, </a:t>
            </a:r>
            <a:r>
              <a:rPr lang="de-DE" dirty="0" err="1"/>
              <a:t>hvis</a:t>
            </a:r>
            <a:r>
              <a:rPr lang="de-DE" dirty="0"/>
              <a:t> du </a:t>
            </a:r>
            <a:r>
              <a:rPr lang="de-DE" dirty="0" err="1"/>
              <a:t>vil</a:t>
            </a:r>
            <a:r>
              <a:rPr lang="de-DE" dirty="0"/>
              <a:t> </a:t>
            </a:r>
            <a:r>
              <a:rPr lang="de-DE" dirty="0" err="1"/>
              <a:t>være</a:t>
            </a:r>
            <a:r>
              <a:rPr lang="de-DE" dirty="0"/>
              <a:t> en del </a:t>
            </a:r>
            <a:r>
              <a:rPr lang="de-DE" dirty="0" err="1"/>
              <a:t>af</a:t>
            </a:r>
            <a:r>
              <a:rPr lang="de-DE" dirty="0"/>
              <a:t> </a:t>
            </a:r>
            <a:r>
              <a:rPr lang="de-DE" dirty="0" err="1"/>
              <a:t>Møllebandens</a:t>
            </a:r>
            <a:r>
              <a:rPr lang="de-DE" dirty="0"/>
              <a:t> </a:t>
            </a:r>
            <a:r>
              <a:rPr lang="de-DE" dirty="0" err="1"/>
              <a:t>Venn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25729-A429-4AAD-8386-8EFFA28AE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igtige</a:t>
            </a:r>
            <a:r>
              <a:rPr lang="de-DE" dirty="0"/>
              <a:t> </a:t>
            </a:r>
            <a:r>
              <a:rPr lang="de-DE" dirty="0" err="1"/>
              <a:t>venner</a:t>
            </a:r>
            <a:r>
              <a:rPr lang="de-DE" dirty="0"/>
              <a:t>… </a:t>
            </a:r>
            <a:r>
              <a:rPr lang="de-DE" dirty="0" err="1"/>
              <a:t>Møllebandens</a:t>
            </a:r>
            <a:r>
              <a:rPr lang="de-DE" dirty="0"/>
              <a:t> </a:t>
            </a:r>
            <a:r>
              <a:rPr lang="de-DE" dirty="0" err="1"/>
              <a:t>Venner</a:t>
            </a: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99B86CD-6990-4047-9B32-BB1318D2B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  <a:p>
            <a:endParaRPr lang="de-DE" dirty="0"/>
          </a:p>
        </p:txBody>
      </p:sp>
      <p:pic>
        <p:nvPicPr>
          <p:cNvPr id="31746" name="Picture 2" descr="Billedresultat for brug for hjælp">
            <a:extLst>
              <a:ext uri="{FF2B5EF4-FFF2-40B4-BE49-F238E27FC236}">
                <a16:creationId xmlns:a16="http://schemas.microsoft.com/office/drawing/2014/main" id="{3F562292-CB3B-4EE1-B545-F70FFAFCD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4999" y="1581150"/>
            <a:ext cx="4762500" cy="369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1747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Formandens beretning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Møllebandens Events​ 2019 – </a:t>
            </a:r>
            <a:r>
              <a:rPr lang="da-DK" sz="1600" b="1" i="1" dirty="0"/>
              <a:t>Michelle Lynnerup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00 	Underholdning ved Adam </a:t>
            </a:r>
            <a:r>
              <a:rPr lang="da-DK" sz="1600" dirty="0" err="1"/>
              <a:t>Aldridge</a:t>
            </a:r>
            <a:endParaRPr lang="da-DK" sz="1600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398001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>
            <a:noAutofit/>
          </a:bodyPr>
          <a:lstStyle/>
          <a:p>
            <a:pPr algn="ctr"/>
            <a:r>
              <a:rPr lang="da-DK" sz="9600" b="1" i="1" dirty="0">
                <a:latin typeface="Comic Sans MS" panose="030F0702030302020204" pitchFamily="66" charset="0"/>
              </a:rPr>
              <a:t>EVENTS 2019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1478"/>
          <a:stretch/>
        </p:blipFill>
        <p:spPr>
          <a:xfrm>
            <a:off x="311999" y="1182030"/>
            <a:ext cx="6513674" cy="186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0F15DE-AA3E-4D6B-9342-CB30FBAE8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300942"/>
            <a:ext cx="10693702" cy="5693457"/>
          </a:xfrm>
        </p:spPr>
        <p:txBody>
          <a:bodyPr>
            <a:normAutofit/>
          </a:bodyPr>
          <a:lstStyle/>
          <a:p>
            <a:pPr algn="ctr"/>
            <a:r>
              <a:rPr lang="da-DK" sz="2400" b="1" i="1" dirty="0">
                <a:latin typeface="Comic Sans MS" panose="030F0702030302020204" pitchFamily="66" charset="0"/>
              </a:rPr>
              <a:t>GODKENDTE EVENTS		152</a:t>
            </a:r>
            <a:br>
              <a:rPr lang="da-DK" sz="2400" b="1" i="1" dirty="0">
                <a:latin typeface="Comic Sans MS" panose="030F0702030302020204" pitchFamily="66" charset="0"/>
              </a:rPr>
            </a:br>
            <a:br>
              <a:rPr lang="da-DK" sz="2400" b="1" i="1" dirty="0">
                <a:latin typeface="Comic Sans MS" panose="030F0702030302020204" pitchFamily="66" charset="0"/>
              </a:rPr>
            </a:br>
            <a:br>
              <a:rPr lang="da-DK" sz="2400" b="1" i="1" dirty="0">
                <a:latin typeface="Comic Sans MS" panose="030F0702030302020204" pitchFamily="66" charset="0"/>
              </a:rPr>
            </a:br>
            <a:r>
              <a:rPr lang="da-DK" sz="2400" b="1" i="1" dirty="0">
                <a:latin typeface="Comic Sans MS" panose="030F0702030302020204" pitchFamily="66" charset="0"/>
              </a:rPr>
              <a:t>AFLYSTE EVENTS			 21</a:t>
            </a:r>
            <a:br>
              <a:rPr lang="da-DK" sz="2400" b="1" i="1" dirty="0">
                <a:latin typeface="Comic Sans MS" panose="030F0702030302020204" pitchFamily="66" charset="0"/>
              </a:rPr>
            </a:br>
            <a:br>
              <a:rPr lang="da-DK" sz="2400" b="1" i="1" dirty="0">
                <a:latin typeface="Comic Sans MS" panose="030F0702030302020204" pitchFamily="66" charset="0"/>
              </a:rPr>
            </a:br>
            <a:br>
              <a:rPr lang="da-DK" sz="2400" b="1" i="1" dirty="0">
                <a:latin typeface="Comic Sans MS" panose="030F0702030302020204" pitchFamily="66" charset="0"/>
              </a:rPr>
            </a:br>
            <a:r>
              <a:rPr lang="da-DK" sz="2400" b="1" i="1" dirty="0">
                <a:latin typeface="Comic Sans MS" panose="030F0702030302020204" pitchFamily="66" charset="0"/>
              </a:rPr>
              <a:t>			GENNEMFØRTE EVENTS			131</a:t>
            </a:r>
            <a:br>
              <a:rPr lang="da-DK" sz="2400" b="1" i="1" dirty="0">
                <a:latin typeface="Comic Sans MS" panose="030F0702030302020204" pitchFamily="66" charset="0"/>
              </a:rPr>
            </a:br>
            <a:br>
              <a:rPr lang="da-DK" sz="2400" b="1" i="1" dirty="0">
                <a:latin typeface="Comic Sans MS" panose="030F0702030302020204" pitchFamily="66" charset="0"/>
              </a:rPr>
            </a:br>
            <a:r>
              <a:rPr lang="da-DK" sz="2400" b="1" i="1" dirty="0">
                <a:latin typeface="Comic Sans MS" panose="030F0702030302020204" pitchFamily="66" charset="0"/>
              </a:rPr>
              <a:t>          </a:t>
            </a:r>
            <a:br>
              <a:rPr lang="da-DK" sz="2400" b="1" i="1" dirty="0">
                <a:latin typeface="Comic Sans MS" panose="030F0702030302020204" pitchFamily="66" charset="0"/>
              </a:rPr>
            </a:br>
            <a:r>
              <a:rPr lang="da-DK" sz="2400" b="1" i="1" dirty="0">
                <a:latin typeface="Comic Sans MS" panose="030F0702030302020204" pitchFamily="66" charset="0"/>
              </a:rPr>
              <a:t>gennemførte events 2018			102	</a:t>
            </a:r>
            <a:r>
              <a:rPr lang="da-DK" sz="1600" dirty="0"/>
              <a:t>				</a:t>
            </a:r>
          </a:p>
        </p:txBody>
      </p:sp>
    </p:spTree>
    <p:extLst>
      <p:ext uri="{BB962C8B-B14F-4D97-AF65-F5344CB8AC3E}">
        <p14:creationId xmlns:p14="http://schemas.microsoft.com/office/powerpoint/2010/main" val="11091162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11">
            <a:extLst>
              <a:ext uri="{FF2B5EF4-FFF2-40B4-BE49-F238E27FC236}">
                <a16:creationId xmlns:a16="http://schemas.microsoft.com/office/drawing/2014/main" id="{0512F9CB-A1A0-4043-A103-F6A4B94B6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13">
            <a:extLst>
              <a:ext uri="{FF2B5EF4-FFF2-40B4-BE49-F238E27FC236}">
                <a16:creationId xmlns:a16="http://schemas.microsoft.com/office/drawing/2014/main" id="{ADBE6588-EE16-4389-857C-86A156D49E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5">
            <a:extLst>
              <a:ext uri="{FF2B5EF4-FFF2-40B4-BE49-F238E27FC236}">
                <a16:creationId xmlns:a16="http://schemas.microsoft.com/office/drawing/2014/main" id="{17FD48D2-B0A7-413D-B947-AA55AC129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7">
            <a:extLst>
              <a:ext uri="{FF2B5EF4-FFF2-40B4-BE49-F238E27FC236}">
                <a16:creationId xmlns:a16="http://schemas.microsoft.com/office/drawing/2014/main" id="{2BE668D0-D906-4EEE-B32F-8C028624B8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9">
            <a:extLst>
              <a:ext uri="{FF2B5EF4-FFF2-40B4-BE49-F238E27FC236}">
                <a16:creationId xmlns:a16="http://schemas.microsoft.com/office/drawing/2014/main" id="{D1DE67A3-B8F6-4CFD-A8E0-D15200F23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21">
            <a:extLst>
              <a:ext uri="{FF2B5EF4-FFF2-40B4-BE49-F238E27FC236}">
                <a16:creationId xmlns:a16="http://schemas.microsoft.com/office/drawing/2014/main" id="{991E317B-75E3-4171-A07A-B263C1D6D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C768C9-3E95-46F9-A5A1-2E3EA9DED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2710" y="628617"/>
            <a:ext cx="3971902" cy="302898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b="1" i="1">
                <a:solidFill>
                  <a:srgbClr val="FFFFFF"/>
                </a:solidFill>
              </a:rPr>
              <a:t>FORDELING EVENTS</a:t>
            </a:r>
          </a:p>
        </p:txBody>
      </p:sp>
      <p:sp useBgFill="1">
        <p:nvSpPr>
          <p:cNvPr id="47" name="Snip Diagonal Corner Rectangle 6">
            <a:extLst>
              <a:ext uri="{FF2B5EF4-FFF2-40B4-BE49-F238E27FC236}">
                <a16:creationId xmlns:a16="http://schemas.microsoft.com/office/drawing/2014/main" id="{4A9B19C2-B29A-4924-9E7E-6FBF17F585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000" y="620722"/>
            <a:ext cx="6418778" cy="5286838"/>
          </a:xfrm>
          <a:prstGeom prst="snip2DiagRect">
            <a:avLst>
              <a:gd name="adj1" fmla="val 10973"/>
              <a:gd name="adj2" fmla="val 0"/>
            </a:avLst>
          </a:prstGeom>
          <a:ln>
            <a:noFill/>
          </a:ln>
          <a:effectLst>
            <a:innerShdw blurRad="57150" dist="38100" dir="14460000">
              <a:prstClr val="black">
                <a:alpha val="7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48" name="Group 25">
            <a:extLst>
              <a:ext uri="{FF2B5EF4-FFF2-40B4-BE49-F238E27FC236}">
                <a16:creationId xmlns:a16="http://schemas.microsoft.com/office/drawing/2014/main" id="{34C85634-D5F5-4047-8F35-F4B1F50AB1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224BF71-948F-411D-AA79-8B23157151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34B4526-E715-4199-A597-CD757CB4A0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5E295A6-48D5-4F9E-A32C-5D87EAA5E7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10BF5B3-9260-4D36-BB24-07BC414B9D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AE0C886-FA2E-4E7C-BC00-8397AAEC86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B7C7148-D0B1-48E8-A2F1-49C1E38433CA}"/>
              </a:ext>
            </a:extLst>
          </p:cNvPr>
          <p:cNvGraphicFramePr/>
          <p:nvPr/>
        </p:nvGraphicFramePr>
        <p:xfrm>
          <a:off x="1101217" y="1097060"/>
          <a:ext cx="5450437" cy="433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10819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512F9CB-A1A0-4043-A103-F6A4B94B6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DBE6588-EE16-4389-857C-86A156D49E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FD48D2-B0A7-413D-B947-AA55AC129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BE668D0-D906-4EEE-B32F-8C028624B8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DE67A3-B8F6-4CFD-A8E0-D15200F23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6F269C0-E938-4ACE-9291-680DA455A4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5D1CC1-5208-4B88-8583-F8C1129DE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628617"/>
            <a:ext cx="5408613" cy="302898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400">
                <a:solidFill>
                  <a:srgbClr val="FFFFFF"/>
                </a:solidFill>
              </a:rPr>
              <a:t>MANGFOLDIGHED</a:t>
            </a:r>
          </a:p>
        </p:txBody>
      </p:sp>
      <p:sp useBgFill="1">
        <p:nvSpPr>
          <p:cNvPr id="22" name="Snip Diagonal Corner Rectangle 6">
            <a:extLst>
              <a:ext uri="{FF2B5EF4-FFF2-40B4-BE49-F238E27FC236}">
                <a16:creationId xmlns:a16="http://schemas.microsoft.com/office/drawing/2014/main" id="{353910D8-86D8-4812-AACB-F5860956E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000" y="620722"/>
            <a:ext cx="4977369" cy="5286838"/>
          </a:xfrm>
          <a:prstGeom prst="snip2DiagRect">
            <a:avLst>
              <a:gd name="adj1" fmla="val 9763"/>
              <a:gd name="adj2" fmla="val 0"/>
            </a:avLst>
          </a:prstGeom>
          <a:ln>
            <a:noFill/>
          </a:ln>
          <a:effectLst>
            <a:innerShdw blurRad="57150" dist="38100" dir="14460000">
              <a:prstClr val="black">
                <a:alpha val="7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0DDB13E-0746-49BA-B832-3DBEF6AB5E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75ABE57-032A-4BDB-8DA5-921E3A2657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1CBD4F3-E4C6-4345-B5B9-225E609D3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AD7E20A-1B41-40E2-9927-FD6E3E09DF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42C5E4E-9C9A-4C8F-A06F-0C25A124EA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4382779-711D-4169-BCDC-A353BB9E7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088C8B8-7998-43BD-B5D4-0B515BEDBAA0}"/>
              </a:ext>
            </a:extLst>
          </p:cNvPr>
          <p:cNvGraphicFramePr/>
          <p:nvPr/>
        </p:nvGraphicFramePr>
        <p:xfrm>
          <a:off x="1138512" y="1107589"/>
          <a:ext cx="3997242" cy="433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64513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645" y="685799"/>
            <a:ext cx="8001000" cy="297180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b="1" i="1" dirty="0">
                <a:latin typeface="Comic Sans MS" panose="030F0702030302020204" pitchFamily="66" charset="0"/>
              </a:rPr>
              <a:t>IALT 7.192 DELTAGERE</a:t>
            </a:r>
            <a:br>
              <a:rPr lang="en-US" sz="4800" b="1" i="1" dirty="0">
                <a:latin typeface="Comic Sans MS" panose="030F0702030302020204" pitchFamily="66" charset="0"/>
              </a:rPr>
            </a:br>
            <a:r>
              <a:rPr lang="en-US" sz="2000" b="1" i="1" dirty="0">
                <a:latin typeface="Comic Sans MS" panose="030F0702030302020204" pitchFamily="66" charset="0"/>
              </a:rPr>
              <a:t>Excl. </a:t>
            </a:r>
            <a:r>
              <a:rPr lang="en-US" sz="2000" b="1" i="1" dirty="0" err="1">
                <a:latin typeface="Comic Sans MS" panose="030F0702030302020204" pitchFamily="66" charset="0"/>
              </a:rPr>
              <a:t>børnebørn</a:t>
            </a:r>
            <a:r>
              <a:rPr lang="en-US" sz="2000" b="1" i="1" dirty="0">
                <a:latin typeface="Comic Sans MS" panose="030F0702030302020204" pitchFamily="66" charset="0"/>
              </a:rPr>
              <a:t> </a:t>
            </a:r>
            <a:r>
              <a:rPr lang="en-US" sz="2000" b="1" i="1" dirty="0" err="1">
                <a:latin typeface="Comic Sans MS" panose="030F0702030302020204" pitchFamily="66" charset="0"/>
              </a:rPr>
              <a:t>og</a:t>
            </a:r>
            <a:r>
              <a:rPr lang="en-US" sz="2000" b="1" i="1" dirty="0">
                <a:latin typeface="Comic Sans MS" panose="030F0702030302020204" pitchFamily="66" charset="0"/>
              </a:rPr>
              <a:t> </a:t>
            </a:r>
            <a:r>
              <a:rPr lang="en-US" sz="2000" b="1" i="1" dirty="0" err="1">
                <a:latin typeface="Comic Sans MS" panose="030F0702030302020204" pitchFamily="66" charset="0"/>
              </a:rPr>
              <a:t>bedsteforældre</a:t>
            </a:r>
            <a:br>
              <a:rPr lang="en-US" sz="2000" b="1" i="1" dirty="0">
                <a:latin typeface="Comic Sans MS" panose="030F0702030302020204" pitchFamily="66" charset="0"/>
              </a:rPr>
            </a:br>
            <a:br>
              <a:rPr lang="en-US" sz="2000" b="1" i="1" dirty="0">
                <a:latin typeface="Comic Sans MS" panose="030F0702030302020204" pitchFamily="66" charset="0"/>
              </a:rPr>
            </a:br>
            <a:r>
              <a:rPr lang="en-US" sz="2000" b="1" i="1" dirty="0" err="1">
                <a:latin typeface="Comic Sans MS" panose="030F0702030302020204" pitchFamily="66" charset="0"/>
              </a:rPr>
              <a:t>Selvfølgelig</a:t>
            </a:r>
            <a:r>
              <a:rPr lang="en-US" sz="2000" b="1" i="1" dirty="0">
                <a:latin typeface="Comic Sans MS" panose="030F0702030302020204" pitchFamily="66" charset="0"/>
              </a:rPr>
              <a:t> </a:t>
            </a:r>
            <a:r>
              <a:rPr lang="en-US" sz="2000" b="1" i="1" dirty="0" err="1">
                <a:latin typeface="Comic Sans MS" panose="030F0702030302020204" pitchFamily="66" charset="0"/>
              </a:rPr>
              <a:t>er</a:t>
            </a:r>
            <a:r>
              <a:rPr lang="en-US" sz="2000" b="1" i="1" dirty="0">
                <a:latin typeface="Comic Sans MS" panose="030F0702030302020204" pitchFamily="66" charset="0"/>
              </a:rPr>
              <a:t> der mange </a:t>
            </a:r>
            <a:r>
              <a:rPr lang="en-US" sz="2000" b="1" i="1" dirty="0" err="1">
                <a:latin typeface="Comic Sans MS" panose="030F0702030302020204" pitchFamily="66" charset="0"/>
              </a:rPr>
              <a:t>gengangere</a:t>
            </a:r>
            <a:r>
              <a:rPr lang="en-US" sz="2000" b="1" i="1" dirty="0">
                <a:latin typeface="Comic Sans MS" panose="030F0702030302020204" pitchFamily="66" charset="0"/>
              </a:rPr>
              <a:t>……..</a:t>
            </a:r>
          </a:p>
        </p:txBody>
      </p:sp>
    </p:spTree>
    <p:extLst>
      <p:ext uri="{BB962C8B-B14F-4D97-AF65-F5344CB8AC3E}">
        <p14:creationId xmlns:p14="http://schemas.microsoft.com/office/powerpoint/2010/main" val="469205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3552A-D562-47F1-AF5B-5812FC285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403" y="1678328"/>
            <a:ext cx="6263210" cy="1750671"/>
          </a:xfrm>
        </p:spPr>
        <p:txBody>
          <a:bodyPr/>
          <a:lstStyle/>
          <a:p>
            <a:pPr algn="ctr"/>
            <a:r>
              <a:rPr lang="da-DK" b="1" i="1" dirty="0">
                <a:latin typeface="Comic Sans MS" panose="030F0702030302020204" pitchFamily="66" charset="0"/>
              </a:rPr>
              <a:t>EVENTMAK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5C196-241B-4EAD-AC23-21A7D67134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152 EVENTS – FORDELT PÅ 69 EVENTMAKERS</a:t>
            </a:r>
          </a:p>
          <a:p>
            <a:endParaRPr lang="da-DK" b="1" i="1" dirty="0">
              <a:solidFill>
                <a:schemeClr val="tx1"/>
              </a:solidFill>
              <a:latin typeface="Comic Sans MS" panose="030F0702030302020204" pitchFamily="66" charset="0"/>
            </a:endParaRPr>
          </a:p>
          <a:p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GENNEMSNITLIG 2,20 EVENTS PR EVENTMAKER…….</a:t>
            </a:r>
          </a:p>
        </p:txBody>
      </p:sp>
    </p:spTree>
    <p:extLst>
      <p:ext uri="{BB962C8B-B14F-4D97-AF65-F5344CB8AC3E}">
        <p14:creationId xmlns:p14="http://schemas.microsoft.com/office/powerpoint/2010/main" val="3526056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1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6.30 	Velkomst – </a:t>
            </a:r>
            <a:r>
              <a:rPr lang="da-DK" sz="1600" b="1" i="1" dirty="0"/>
              <a:t>Henrik Dalgaard Jen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19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00 	Underholdning ved Adam </a:t>
            </a:r>
            <a:r>
              <a:rPr lang="da-DK" sz="1600" dirty="0" err="1"/>
              <a:t>Aldridge</a:t>
            </a:r>
            <a:endParaRPr lang="da-DK" sz="1600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56395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AD074-A2D7-44C4-9D65-E0660AF1F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685800"/>
            <a:ext cx="4612616" cy="1343722"/>
          </a:xfrm>
        </p:spPr>
        <p:txBody>
          <a:bodyPr>
            <a:normAutofit/>
          </a:bodyPr>
          <a:lstStyle/>
          <a:p>
            <a:r>
              <a:rPr lang="da-DK" sz="4800" b="1" i="1" dirty="0" err="1">
                <a:latin typeface="Comic Sans MS" panose="030F0702030302020204" pitchFamily="66" charset="0"/>
              </a:rPr>
              <a:t>Meeeeen</a:t>
            </a:r>
            <a:r>
              <a:rPr lang="da-DK" sz="4800" b="1" i="1" dirty="0">
                <a:latin typeface="Comic Sans MS" panose="030F0702030302020204" pitchFamily="66" charset="0"/>
              </a:rPr>
              <a:t>….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9DF3C1-50B1-459E-908F-7EFC87DCFE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4211" y="2029522"/>
            <a:ext cx="10478159" cy="3964878"/>
          </a:xfrm>
        </p:spPr>
        <p:txBody>
          <a:bodyPr/>
          <a:lstStyle/>
          <a:p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NOGEN ER JO LIDT MERE AKTIVE END ANDRE….</a:t>
            </a:r>
          </a:p>
          <a:p>
            <a:endParaRPr lang="da-DK" b="1" i="1" dirty="0">
              <a:solidFill>
                <a:schemeClr val="tx1"/>
              </a:solidFill>
              <a:latin typeface="Comic Sans MS" panose="030F0702030302020204" pitchFamily="66" charset="0"/>
            </a:endParaRP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MICHELLE LYNNERUP		1.966 PERSONER		14 EVENTS</a:t>
            </a: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TINA BYSKOV	 			   756 PERSONER		15 EVENTS</a:t>
            </a: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PIA CLEMMENSEN			  478 PERSONER		 5 EVENTS</a:t>
            </a: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METTE HALKJÆR			  294 PERSONER		 4 EVENTS</a:t>
            </a: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VIBEKE LUND					  230 PERSONER		 8 EVENTS</a:t>
            </a:r>
          </a:p>
          <a:p>
            <a:pPr marL="457200" indent="-457200">
              <a:buAutoNum type="arabicPeriod"/>
            </a:pPr>
            <a:r>
              <a:rPr lang="da-DK" b="1" i="1" dirty="0">
                <a:solidFill>
                  <a:schemeClr val="tx1"/>
                </a:solidFill>
                <a:latin typeface="Comic Sans MS" panose="030F0702030302020204" pitchFamily="66" charset="0"/>
              </a:rPr>
              <a:t>BIRGITTE SØBY				  208 PERSONER		11 EVENTS		</a:t>
            </a:r>
          </a:p>
        </p:txBody>
      </p:sp>
    </p:spTree>
    <p:extLst>
      <p:ext uri="{BB962C8B-B14F-4D97-AF65-F5344CB8AC3E}">
        <p14:creationId xmlns:p14="http://schemas.microsoft.com/office/powerpoint/2010/main" val="647037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Straight Connector 14">
            <a:extLst>
              <a:ext uri="{FF2B5EF4-FFF2-40B4-BE49-F238E27FC236}">
                <a16:creationId xmlns:a16="http://schemas.microsoft.com/office/drawing/2014/main" id="{8C152077-984A-4612-B0E1-251C62EB15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16">
            <a:extLst>
              <a:ext uri="{FF2B5EF4-FFF2-40B4-BE49-F238E27FC236}">
                <a16:creationId xmlns:a16="http://schemas.microsoft.com/office/drawing/2014/main" id="{C05450BA-2A87-4847-A5A0-E7D9605572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18">
            <a:extLst>
              <a:ext uri="{FF2B5EF4-FFF2-40B4-BE49-F238E27FC236}">
                <a16:creationId xmlns:a16="http://schemas.microsoft.com/office/drawing/2014/main" id="{A16F9ADA-A824-456A-9728-D5BFFE04D3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20">
            <a:extLst>
              <a:ext uri="{FF2B5EF4-FFF2-40B4-BE49-F238E27FC236}">
                <a16:creationId xmlns:a16="http://schemas.microsoft.com/office/drawing/2014/main" id="{63034157-938C-45F5-8DCA-208D22E5B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22">
            <a:extLst>
              <a:ext uri="{FF2B5EF4-FFF2-40B4-BE49-F238E27FC236}">
                <a16:creationId xmlns:a16="http://schemas.microsoft.com/office/drawing/2014/main" id="{2369327A-A6C5-4293-80D1-DECEBA3F5F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79" name="Rectangle 24">
            <a:extLst>
              <a:ext uri="{FF2B5EF4-FFF2-40B4-BE49-F238E27FC236}">
                <a16:creationId xmlns:a16="http://schemas.microsoft.com/office/drawing/2014/main" id="{AAAB4313-7B9C-47B5-9EA2-537DE36C7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E96887-FFF2-46AC-8A62-A690F88A5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2710" y="628617"/>
            <a:ext cx="3971902" cy="302898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000" b="1" i="1"/>
              <a:t>EVENTMAKERAFTEN</a:t>
            </a:r>
          </a:p>
        </p:txBody>
      </p:sp>
      <p:sp>
        <p:nvSpPr>
          <p:cNvPr id="80" name="Snip Diagonal Corner Rectangle 6">
            <a:extLst>
              <a:ext uri="{FF2B5EF4-FFF2-40B4-BE49-F238E27FC236}">
                <a16:creationId xmlns:a16="http://schemas.microsoft.com/office/drawing/2014/main" id="{5BDFEBFF-F902-481F-BC42-83606FE4A6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000" y="620722"/>
            <a:ext cx="6575496" cy="5286838"/>
          </a:xfrm>
          <a:prstGeom prst="snip2DiagRect">
            <a:avLst>
              <a:gd name="adj1" fmla="val 10787"/>
              <a:gd name="adj2" fmla="val 0"/>
            </a:avLst>
          </a:prstGeom>
          <a:solidFill>
            <a:schemeClr val="tx1"/>
          </a:solidFill>
          <a:ln>
            <a:noFill/>
          </a:ln>
          <a:effectLst>
            <a:innerShdw blurRad="57150" dist="38100" dir="14460000">
              <a:prstClr val="black">
                <a:alpha val="7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B9AF34-4E19-4240-AD3A-6F5378BE54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" r="15250" b="-2"/>
          <a:stretch/>
        </p:blipFill>
        <p:spPr>
          <a:xfrm>
            <a:off x="799073" y="786117"/>
            <a:ext cx="3311119" cy="2967046"/>
          </a:xfrm>
          <a:custGeom>
            <a:avLst/>
            <a:gdLst>
              <a:gd name="connsiteX0" fmla="*/ 534609 w 3311119"/>
              <a:gd name="connsiteY0" fmla="*/ 0 h 2967046"/>
              <a:gd name="connsiteX1" fmla="*/ 3311119 w 3311119"/>
              <a:gd name="connsiteY1" fmla="*/ 0 h 2967046"/>
              <a:gd name="connsiteX2" fmla="*/ 3311119 w 3311119"/>
              <a:gd name="connsiteY2" fmla="*/ 2967046 h 2967046"/>
              <a:gd name="connsiteX3" fmla="*/ 0 w 3311119"/>
              <a:gd name="connsiteY3" fmla="*/ 2967046 h 2967046"/>
              <a:gd name="connsiteX4" fmla="*/ 0 w 3311119"/>
              <a:gd name="connsiteY4" fmla="*/ 534609 h 296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1119" h="2967046">
                <a:moveTo>
                  <a:pt x="534609" y="0"/>
                </a:moveTo>
                <a:lnTo>
                  <a:pt x="3311119" y="0"/>
                </a:lnTo>
                <a:lnTo>
                  <a:pt x="3311119" y="2967046"/>
                </a:lnTo>
                <a:lnTo>
                  <a:pt x="0" y="2967046"/>
                </a:lnTo>
                <a:lnTo>
                  <a:pt x="0" y="534609"/>
                </a:lnTo>
                <a:close/>
              </a:path>
            </a:pathLst>
          </a:custGeom>
        </p:spPr>
      </p:pic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116BF070-74D6-4AD2-B070-BD21BDB64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53579" y="786117"/>
            <a:ext cx="2797904" cy="17021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EB87FA-6407-4E85-B9B6-B4A5D07007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" b="18888"/>
          <a:stretch/>
        </p:blipFill>
        <p:spPr>
          <a:xfrm>
            <a:off x="4253579" y="786117"/>
            <a:ext cx="2797904" cy="1702145"/>
          </a:xfrm>
          <a:prstGeom prst="rect">
            <a:avLst/>
          </a:prstGeom>
        </p:spPr>
      </p:pic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F1426C31-1067-4007-ABE1-EF944A15C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9072" y="3883046"/>
            <a:ext cx="3311119" cy="1859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0E8013-0EB8-4D63-898C-A9B36EC451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32" r="2" b="9007"/>
          <a:stretch/>
        </p:blipFill>
        <p:spPr>
          <a:xfrm>
            <a:off x="799072" y="3883046"/>
            <a:ext cx="3311119" cy="18591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9B2628C-4267-43E9-93DA-2630A5D5400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42" r="-4" b="-4"/>
          <a:stretch/>
        </p:blipFill>
        <p:spPr>
          <a:xfrm>
            <a:off x="4250406" y="2618147"/>
            <a:ext cx="2794018" cy="3124019"/>
          </a:xfrm>
          <a:custGeom>
            <a:avLst/>
            <a:gdLst>
              <a:gd name="connsiteX0" fmla="*/ 0 w 2794018"/>
              <a:gd name="connsiteY0" fmla="*/ 0 h 3124019"/>
              <a:gd name="connsiteX1" fmla="*/ 2794018 w 2794018"/>
              <a:gd name="connsiteY1" fmla="*/ 0 h 3124019"/>
              <a:gd name="connsiteX2" fmla="*/ 2794018 w 2794018"/>
              <a:gd name="connsiteY2" fmla="*/ 2589410 h 3124019"/>
              <a:gd name="connsiteX3" fmla="*/ 2259409 w 2794018"/>
              <a:gd name="connsiteY3" fmla="*/ 3124019 h 3124019"/>
              <a:gd name="connsiteX4" fmla="*/ 0 w 2794018"/>
              <a:gd name="connsiteY4" fmla="*/ 3124019 h 3124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4018" h="3124019">
                <a:moveTo>
                  <a:pt x="0" y="0"/>
                </a:moveTo>
                <a:lnTo>
                  <a:pt x="2794018" y="0"/>
                </a:lnTo>
                <a:lnTo>
                  <a:pt x="2794018" y="2589410"/>
                </a:lnTo>
                <a:lnTo>
                  <a:pt x="2259409" y="3124019"/>
                </a:lnTo>
                <a:lnTo>
                  <a:pt x="0" y="3124019"/>
                </a:lnTo>
                <a:close/>
              </a:path>
            </a:pathLst>
          </a:cu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44809623-E7D8-4059-BD9F-12956C425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E767780-3293-49CC-BAF0-1A3531D775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BC20530-8346-4B51-8101-98F0D13D8C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2BB09AD-7927-48FB-A0F6-C7EF92F135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AE017E3-B5FB-4513-B9BF-91AE96DF36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61059DF-A867-4A16-8DBD-D4A77965D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745486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Formandens beretning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Møllebandens Events​ 2019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Regnskab &amp; Budget – </a:t>
            </a:r>
            <a:r>
              <a:rPr lang="da-DK" sz="1600" b="1" i="1" dirty="0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00 	Underholdning ved Adam </a:t>
            </a:r>
            <a:r>
              <a:rPr lang="da-DK" sz="1600" dirty="0" err="1"/>
              <a:t>Aldridge</a:t>
            </a:r>
            <a:endParaRPr lang="da-DK" sz="1600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CD8C7A-FAE2-473F-8EFF-2D155AC69931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83D79E-2248-4C1A-B82E-872B46080884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8353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2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216" imgH="216" progId="TCLayout.ActiveDocument.1">
                  <p:embed/>
                </p:oleObj>
              </mc:Choice>
              <mc:Fallback>
                <p:oleObj name="think-cell Slide" r:id="rId50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gnskab </a:t>
            </a:r>
            <a:r>
              <a:rPr lang="da-DK"/>
              <a:t>&amp; Budget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394075"/>
          </a:xfrm>
        </p:spPr>
        <p:txBody>
          <a:bodyPr/>
          <a:lstStyle/>
          <a:p>
            <a:r>
              <a:rPr lang="da-DK" dirty="0"/>
              <a:t>Budget 2019 vs. Faktiske 2019 / </a:t>
            </a:r>
            <a:r>
              <a:rPr lang="da-DK" dirty="0" err="1"/>
              <a:t>kDKK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3</a:t>
            </a:fld>
            <a:endParaRPr lang="da-DK" dirty="0"/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D5687E3D-1DAA-499C-883F-883BD9085F7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17817745"/>
              </p:ext>
            </p:extLst>
          </p:nvPr>
        </p:nvGraphicFramePr>
        <p:xfrm>
          <a:off x="1681163" y="2249488"/>
          <a:ext cx="4232275" cy="2484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CE502E1-3EBC-4A31-8058-A9ADD715081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854701" y="2579688"/>
            <a:ext cx="2571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8342669-BA27-400F-BEBD-23AB4ACC523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111875" y="2579689"/>
            <a:ext cx="0" cy="276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5F502C1-2AD9-4068-9CF5-B58E97E2C1E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5764213" y="2855913"/>
            <a:ext cx="3476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70B4FF4-C1AB-4327-A31A-C9390C4D93B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975725" y="3352800"/>
            <a:ext cx="5778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0DA7C68-839A-4259-8163-C1DFEB77D07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553575" y="3352800"/>
            <a:ext cx="0" cy="276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05B24B8-8D19-45B3-93A7-E67720B5C47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9126538" y="3629025"/>
            <a:ext cx="427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12BC62-A0B1-49CB-90F6-A40A22FA506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4400" y="4157663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F3E5C-BE44-4D66-A3DD-432BFE298BE6}" type="datetime'''''''''''''''Re''''''''''''s''''''u''''''''''lt''''a''t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Resultat</a:t>
            </a:fld>
            <a:endParaRPr lang="en-US" sz="1400" dirty="0"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BBAD4-56C8-4FCA-8C7D-82703B0EE0D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6450" y="2611438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F8875A-C79E-4A13-955E-EDE30832BB67}" type="datetime'''''''''I''n''''''d''t''''''''''''æ''gt''''''''''''''''''e''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Indtægter</a:t>
            </a:fld>
            <a:endParaRPr lang="en-US" sz="1400" dirty="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D0E781-6390-4B97-8D9C-FE343E77AB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44563" y="3384550"/>
            <a:ext cx="620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28AE0B-EAEC-4B18-8915-68FB5F34C1A8}" type="datetime'''''''''''''''''''''''''''''''''''U''''dg''''if''''t''''e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Udgifter</a:t>
            </a:fld>
            <a:endParaRPr lang="en-US" sz="1400" dirty="0"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8AC73B8-369C-442D-B3CF-02B0761F7E9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322889" y="2473326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2F89D1-F09B-44B9-B860-7C09F00E382B}" type="datetime'''''''''''''1''''''''.''848'''''">
              <a:rPr lang="en-GB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.848</a:t>
            </a:fld>
            <a:endParaRPr lang="en-GB" sz="1400" dirty="0"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AA3CE16-BDBF-4727-BEEF-E4F6D5B394F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232401" y="2749551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F5C6BEB-4836-4DE3-9971-FF1EB3E1D384}" type="datetime'''''''''1''''''''''''''''''.7''''''''''''''8''''2'">
              <a:rPr lang="en-GB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.782</a:t>
            </a:fld>
            <a:endParaRPr lang="en-GB" sz="1400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1E6FE2F-7FA4-48C3-9978-BFE9144DA3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705475" y="3246438"/>
            <a:ext cx="3232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267BE2A-148B-4F20-8792-2D9FAC9AD9D7}" type="datetime'2.''''''''''''''''''''''''''12''''''''''''''''''''''''6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.126</a:t>
            </a:fld>
            <a:r>
              <a:rPr lang="en-US" altLang="en-US" sz="1400" dirty="0">
                <a:sym typeface="+mn-lt"/>
              </a:rPr>
              <a:t> / </a:t>
            </a:r>
            <a:r>
              <a:rPr lang="en-US" altLang="en-US" sz="1400" dirty="0" err="1">
                <a:sym typeface="+mn-lt"/>
              </a:rPr>
              <a:t>heri</a:t>
            </a:r>
            <a:r>
              <a:rPr lang="en-US" altLang="en-US" sz="1400" dirty="0">
                <a:sym typeface="+mn-lt"/>
              </a:rPr>
              <a:t> 2.000 </a:t>
            </a:r>
            <a:r>
              <a:rPr lang="en-US" altLang="en-US" sz="1400" dirty="0" err="1">
                <a:sym typeface="+mn-lt"/>
              </a:rPr>
              <a:t>til</a:t>
            </a:r>
            <a:r>
              <a:rPr lang="en-US" altLang="en-US" sz="1400" dirty="0">
                <a:sym typeface="+mn-lt"/>
              </a:rPr>
              <a:t> events og </a:t>
            </a:r>
            <a:r>
              <a:rPr lang="en-US" altLang="en-US" sz="1400" dirty="0" err="1">
                <a:sym typeface="+mn-lt"/>
              </a:rPr>
              <a:t>aktiviteter</a:t>
            </a:r>
            <a:endParaRPr lang="en-US" sz="14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1EF0FE2-C4AA-42A9-8C8C-2468950730E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856287" y="3522663"/>
            <a:ext cx="3232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E363879-9669-40D1-8F59-080C123766E8}" type="datetime'''''''''''2''''''''.2''''''''''3''''''''''6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.236</a:t>
            </a:fld>
            <a:r>
              <a:rPr lang="en-US" altLang="en-US" sz="1400" dirty="0">
                <a:sym typeface="+mn-lt"/>
              </a:rPr>
              <a:t> / </a:t>
            </a:r>
            <a:r>
              <a:rPr lang="en-US" altLang="en-US" sz="1400" dirty="0" err="1">
                <a:sym typeface="+mn-lt"/>
              </a:rPr>
              <a:t>heri</a:t>
            </a:r>
            <a:r>
              <a:rPr lang="en-US" altLang="en-US" sz="1400" dirty="0">
                <a:sym typeface="+mn-lt"/>
              </a:rPr>
              <a:t> 2.157 </a:t>
            </a:r>
            <a:r>
              <a:rPr lang="en-US" altLang="en-US" sz="1400" dirty="0" err="1">
                <a:sym typeface="+mn-lt"/>
              </a:rPr>
              <a:t>til</a:t>
            </a:r>
            <a:r>
              <a:rPr lang="en-US" altLang="en-US" sz="1400" dirty="0">
                <a:sym typeface="+mn-lt"/>
              </a:rPr>
              <a:t> events og </a:t>
            </a:r>
            <a:r>
              <a:rPr lang="en-US" altLang="en-US" sz="1400" dirty="0" err="1">
                <a:sym typeface="+mn-lt"/>
              </a:rPr>
              <a:t>aktiviteter</a:t>
            </a:r>
            <a:endParaRPr lang="en-US" sz="14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BFD16A6-30FC-46B3-94FA-6EBAB1E317C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930900" y="2566988"/>
            <a:ext cx="3619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125C31-7D93-4717-93DA-1ECD0753CE2B}" type="datetime'''''''''''-''''''''''''''''''6''''''''''''''''''6'''''''''''">
              <a:rPr lang="en-GB" altLang="en-US" sz="1400" b="1" smtClean="0"/>
              <a:pPr/>
              <a:t>-66</a:t>
            </a:fld>
            <a:endParaRPr lang="en-GB" sz="1400" b="1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1981DC6-A38D-4769-AD4C-42803CCFA5C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78938" y="3340100"/>
            <a:ext cx="5508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CDA919-9916-4B24-A7D5-02FB9E2A562B}" type="datetime'''+1''''''''''''''''''''''''''''''1''''''''''''0'''">
              <a:rPr lang="en-GB" altLang="en-US" sz="1400" b="1" smtClean="0"/>
              <a:pPr/>
              <a:t>+110</a:t>
            </a:fld>
            <a:endParaRPr lang="en-GB" sz="1400" b="1" dirty="0"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4CA74-0128-4EAA-852F-032BEBB475C9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09600" y="1901825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5816CD-EA28-4CC9-85AE-CDDF685501C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017713" y="19018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3F8FE-1ECB-4292-8C42-EE6EB0F911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11225" y="1897063"/>
            <a:ext cx="1004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Budget 2019</a:t>
            </a:r>
            <a:endParaRPr lang="en-US" sz="1400" dirty="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570FEC-9B18-4156-AC8E-5A2BCB7D44B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319338" y="1897063"/>
            <a:ext cx="15859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ym typeface="+mn-lt"/>
              </a:rPr>
              <a:t>Årsregnskabet</a:t>
            </a:r>
            <a:r>
              <a:rPr lang="en-US" sz="1400" dirty="0">
                <a:sym typeface="+mn-lt"/>
              </a:rPr>
              <a:t> 2019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DEF98205-0224-4577-BE29-35D24E31FD01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401301083"/>
              </p:ext>
            </p:extLst>
          </p:nvPr>
        </p:nvGraphicFramePr>
        <p:xfrm>
          <a:off x="4405313" y="4630738"/>
          <a:ext cx="5538787" cy="1204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0088F8-1355-483F-81FB-86363711534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5024438" y="4786313"/>
            <a:ext cx="0" cy="465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AACAA03-17E9-4333-B082-25BD892BF55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024438" y="4786313"/>
            <a:ext cx="10366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3A409E1-EDDF-45CB-A701-858D39DE881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061075" y="47863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3DA4C67-AD05-421F-B06F-8E62E478BC3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6137275" y="4540250"/>
            <a:ext cx="998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B4B73418-303A-4AE9-B9CE-FBC3397F41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7135813" y="45402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4EEDD36-FC12-48A2-AC02-8761721A25C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6137275" y="4540250"/>
            <a:ext cx="0" cy="398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332858-FB03-4493-8073-766746181D0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7212013" y="4284663"/>
            <a:ext cx="0" cy="40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D1C85D-3B5F-450D-8250-2426A675F7C2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7212013" y="4284663"/>
            <a:ext cx="998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596748-7381-4E43-AF2E-DBE5B3C7A6B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8210550" y="42846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2FAB806-EB20-436C-87B5-28D8EF7EB17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8286750" y="43608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5DDCB68-DC2E-42C0-85EB-69A6E2B8F18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286750" y="4360863"/>
            <a:ext cx="10366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0F96AC7-3607-4781-81A8-8779530E598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9323388" y="4360863"/>
            <a:ext cx="0" cy="369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767CCCA-806D-48BF-A43A-C6344EF53A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002588" y="4475163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E89F92-B9CC-4BB3-B97F-A2FF103778CA}" type="datetime'''''''''''''''''''1''.''''''''6''''0''''''''''''''6''''''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606</a:t>
            </a:fld>
            <a:endParaRPr lang="en-GB" sz="1400" dirty="0"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90CCD98-51DA-47F2-9407-F5133CB01CE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077325" y="4768850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42A194-83ED-442E-B171-0DCEC242C453}" type="datetime'''''''''''''''1''''''''''''''''''.''1''5''''''3''''''''''''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53</a:t>
            </a:fld>
            <a:endParaRPr lang="en-GB" sz="14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38F6196-5CCB-4E07-AA43-C8C585FBCBB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70713" y="58118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3ADA68-17BE-40BD-9B01-771E0FB00164}" type="datetime'''''''''''''''''''''''''''''''''''''''''2''''''0''1''7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B13EB1-D281-4AF1-8648-E1ACD6E531F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45450" y="58118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0F3DD9-7A1A-4FF3-9124-988E5DFBA497}" type="datetime'''''''''''''''''2''0''''1''''''8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36E48D-338F-4097-91D0-556E6C4703D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120188" y="58118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7DEFC4-A2CF-4045-BCA0-9372B3DD2183}" type="datetime'''''''''''''''''20''''''''''''''''''''''''''''1''''''''''9'''">
              <a:rPr lang="en-US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B274231-245E-4D9D-8773-1D303A34E3E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895975" y="58118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A07D8-996B-4F90-8FBA-8D66B60042FE}" type="datetime'''''''''''''2''''''0''''''''''''''''1''''''6'''''">
              <a:rPr lang="en-GB" altLang="en-US" sz="1400" smtClean="0"/>
              <a:pPr/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F87162-D002-4791-B39E-79136AA05F9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927850" y="4730750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C30BF2-D17F-427F-91A6-DD0F8B2177BF}" type="datetime'1.''21''''''''''''''''''''''''''''''2''''''''''''''''''''''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212</a:t>
            </a:fld>
            <a:endParaRPr lang="en-GB" sz="14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EF31358-F416-4A32-BDE8-98C80AE1C73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821238" y="58118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CB0A56-F927-499B-86A0-6584E405A022}" type="datetime'2''''''''''''''''''''''''''0''1''5'">
              <a:rPr lang="en-GB" altLang="en-US" sz="1400" smtClean="0"/>
              <a:pPr/>
              <a:t>2015</a:t>
            </a:fld>
            <a:endParaRPr lang="en-US" sz="14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A154379-494E-4734-89D2-5992D0D34B5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260975" y="4635500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30F74C-44DE-4366-AC09-9901CDE64757}" type="datetime'''''''''+''''''''''''''4''''''''''''''''8''''''''5'''''''">
              <a:rPr lang="en-GB" altLang="en-US" sz="1400" b="1" smtClean="0"/>
              <a:pPr/>
              <a:t>+485</a:t>
            </a:fld>
            <a:endParaRPr lang="en-GB" sz="1400" b="1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AAE0FCC-5711-4B2D-8099-067EC412D0D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354763" y="4389438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FF2CB4-04EF-4E51-8FBF-6688DCEF360A}" type="datetime'''''''+''''''''''''38''''''''''''''''''0'">
              <a:rPr lang="en-GB" altLang="en-US" sz="1400" b="1" smtClean="0"/>
              <a:pPr/>
              <a:t>+380</a:t>
            </a:fld>
            <a:endParaRPr lang="en-GB" sz="1400" b="1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F39639F-8A2D-4155-A41C-F52BA14DDC4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429500" y="4133850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60135C-CBED-4789-9C7F-AA2675A2D6D2}" type="datetime'+''''''3''''''''9''''''''''4'''''''''''''''''">
              <a:rPr lang="en-GB" altLang="en-US" sz="1400" b="1" smtClean="0"/>
              <a:pPr/>
              <a:t>+394</a:t>
            </a:fld>
            <a:endParaRPr lang="en-GB" sz="1400" b="1" dirty="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E6101ED-100D-4B6A-8DA2-F3321B81720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553450" y="4210050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6C1A5F-BBAB-496E-9489-2B86E44CE979}" type="datetime'-''''''''''''4''''''''''''''''5''''''''''''''''''''''3'''">
              <a:rPr lang="en-GB" altLang="en-US" sz="1400" b="1" smtClean="0"/>
              <a:pPr/>
              <a:t>-453</a:t>
            </a:fld>
            <a:endParaRPr lang="en-GB" sz="1400" b="1" dirty="0">
              <a:sym typeface="+mn-lt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E9A0431-BF35-46E7-86D1-5EAE1306955C}"/>
              </a:ext>
            </a:extLst>
          </p:cNvPr>
          <p:cNvSpPr txBox="1"/>
          <p:nvPr/>
        </p:nvSpPr>
        <p:spPr>
          <a:xfrm>
            <a:off x="538162" y="5389722"/>
            <a:ext cx="3602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dvikling egenkapital / </a:t>
            </a:r>
            <a:r>
              <a:rPr lang="da-DK" dirty="0" err="1"/>
              <a:t>kDKK</a:t>
            </a:r>
            <a:endParaRPr lang="da-DK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13524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411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Årsregnskabet 2019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56338" y="747243"/>
            <a:ext cx="5395124" cy="5124919"/>
          </a:xfrm>
        </p:spPr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Årsregnskabet revideres af Irene Jespersen, udpeget af SGRE-ledelsen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Årsregnskabet er godkendt af Tommy Gaardsted Bilberg, der blev udpeget på sidste Generalforsamling af medlemmerne af Møllebanden​</a:t>
            </a:r>
          </a:p>
          <a:p>
            <a:pPr algn="just"/>
            <a:endParaRPr lang="da-DK" sz="8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SPØRGSMÅL?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Bestyrelsen i Møllebanden anbefaler, at årsrapporten godkendes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 dirty="0"/>
          </a:p>
          <a:p>
            <a:endParaRPr lang="da-DK" sz="1600" dirty="0"/>
          </a:p>
          <a:p>
            <a:endParaRPr lang="en-US" sz="1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4</a:t>
            </a:fld>
            <a:endParaRPr lang="da-DK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D96C3DB-31C7-4C04-BA9B-07BAC3A294AE}"/>
              </a:ext>
            </a:extLst>
          </p:cNvPr>
          <p:cNvGraphicFramePr>
            <a:graphicFrameLocks noGrp="1"/>
          </p:cNvGraphicFramePr>
          <p:nvPr/>
        </p:nvGraphicFramePr>
        <p:xfrm>
          <a:off x="538162" y="1757045"/>
          <a:ext cx="5400000" cy="4191000"/>
        </p:xfrm>
        <a:graphic>
          <a:graphicData uri="http://schemas.openxmlformats.org/drawingml/2006/table">
            <a:tbl>
              <a:tblPr/>
              <a:tblGrid>
                <a:gridCol w="2520000">
                  <a:extLst>
                    <a:ext uri="{9D8B030D-6E8A-4147-A177-3AD203B41FA5}">
                      <a16:colId xmlns:a16="http://schemas.microsoft.com/office/drawing/2014/main" val="175457620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43253181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150276817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 20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nskab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638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42210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g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GRE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lsku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848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.  1.782.3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121726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        -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        -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7691455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848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782.3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4039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155635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58487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56829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2.00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kr. 2.156.65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315023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ministr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        -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        -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521521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5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    2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602757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35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6.79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01486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44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9.95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8350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 udgifter og gebyr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2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2.2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767867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2.126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2.235.82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7544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357346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861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primo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605.99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605.99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7423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848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782.375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534586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2.126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2.235.82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963763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-278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-453.44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9812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ultimo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327.99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152.55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822247"/>
                  </a:ext>
                </a:extLst>
              </a:tr>
            </a:tbl>
          </a:graphicData>
        </a:graphic>
      </p:graphicFrame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8AFEB1C0-D928-4BB4-BAE7-DF821635979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8991818"/>
              </p:ext>
            </p:extLst>
          </p:nvPr>
        </p:nvGraphicFramePr>
        <p:xfrm>
          <a:off x="6505575" y="4951413"/>
          <a:ext cx="5338763" cy="107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751E6A-DA36-4F90-BA20-B36563DBDCC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297863" y="4657725"/>
            <a:ext cx="0" cy="234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B5002F9-F81D-485D-9B63-C938F2BCEBB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97863" y="4657725"/>
            <a:ext cx="2586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259093-6E5D-42A2-933E-4FA8408CE2B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883900" y="46577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297F09-1B6A-407B-9C69-5AE9E5F1EA0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8759825" y="4279899"/>
            <a:ext cx="0" cy="971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B78F3A8-0BDD-46A2-BAF6-3ABE63B4096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759825" y="4279900"/>
            <a:ext cx="2586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7B4047D-8A9A-40C3-9627-33F601F2F46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1345863" y="4279900"/>
            <a:ext cx="0" cy="13604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2DB0B3-18A4-4F73-A663-E9D946BD2F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324850" y="600710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D97BCF-D0C5-49EB-9CBC-574884CE4B39}" type="datetime'2''''''0''''''1''''''''7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3188A6A-BEE4-43F6-97C4-5E57322E6DF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618663" y="600710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5338F3-30E3-44E5-8DA7-136A2C02DE4A}" type="datetime'''2''''''''''0''''''''''''''''''''''1''''''''''''''''8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AC7749-6B82-4800-A3D3-8D870FB2659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031038" y="600710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FB0B74-5FA4-4C8A-B608-407065EDB811}" type="datetime'20''''''''''''''1''''''''6'''''">
              <a:rPr lang="en-GB" altLang="en-US" sz="1400" smtClean="0"/>
              <a:pPr/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4A7604B-C9E6-4085-B19C-DBC83134F05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10888" y="600710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A33751-2A7F-4BF4-88C8-69A89105C8DE}" type="datetime'''''''''''''''''''20''''''''''''''19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46E2365-B367-47D1-8CE9-5C6475D0997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051800" y="4930775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D74F9B-7921-4BA0-84E4-CE17C751E2E4}" type="datetime'''1''''''''''''.''9''''''''''''''''''''''''''''5''1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951</a:t>
            </a:fld>
            <a:endParaRPr lang="en-GB" sz="1400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851A014-B4B8-4970-8DED-538D81C2116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513763" y="5289550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23E7AD-190E-45D3-838D-35417FD3589F}" type="datetime'''1''''''''''''''''.''''''0''54''''''''''''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054</a:t>
            </a:fld>
            <a:endParaRPr lang="en-GB" sz="1400" dirty="0"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6B219B7-93E3-4399-891D-693A2B226A1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344025" y="5159375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C24219-A67A-4169-9E97-7005693A91E5}" type="datetime'''''1''''''''''''''''''''''''''.3''''7''''''''''9''''''''''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379</a:t>
            </a:fld>
            <a:endParaRPr lang="en-GB" sz="1400" dirty="0"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6305720-E33F-45C8-9224-CDC2C7782BD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637838" y="4848225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F76537-7585-49D9-BBD3-7AC079F9DE64}" type="datetime'''2''''''''''''''''''''''.1''''''''''''''5''7'">
              <a:rPr lang="en-GB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157</a:t>
            </a:fld>
            <a:endParaRPr lang="en-GB" sz="1400" dirty="0"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36C0F58-B76F-42D0-882B-125B78897C5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57988" y="4795838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95AECF3-1200-40BF-BDB2-07C82079E8BB}" type="datetime'''''''2.''''''''''''''''''''2''''''''8''''''9'''''''''''''">
              <a:rPr lang="en-GB" altLang="en-US" sz="1400" smtClean="0">
                <a:sym typeface="+mn-lt"/>
              </a:rPr>
              <a:pPr/>
              <a:t>2.289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1FA785-FC3B-4DEF-93DB-409FDCD4EA9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19950" y="5154613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AE7CBC-C777-4DE0-B332-F8471FCD28A8}" type="datetime'''''''1''''''.3''''''''''''9''''''''''''''1'''''''''''''">
              <a:rPr lang="en-GB" altLang="en-US" sz="1400" smtClean="0">
                <a:sym typeface="+mn-lt"/>
              </a:rPr>
              <a:pPr/>
              <a:t>1.391</a:t>
            </a:fld>
            <a:endParaRPr lang="en-GB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290FAFD-6775-41DE-B68B-20335984855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309101" y="4506913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4E1079-D86A-446B-A31D-7B3FDC2E9408}" type="datetime'''''''+''''2''''''''''''''''''0''6'''">
              <a:rPr lang="en-GB" altLang="en-US" sz="1400" b="1" smtClean="0"/>
              <a:pPr/>
              <a:t>+206</a:t>
            </a:fld>
            <a:endParaRPr lang="en-GB" sz="1400" b="1" dirty="0"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09AB076-7110-4317-AB21-5AA2AC38FED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801225" y="4129088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51DCB0-1CC9-4B57-B831-3F719F81B15F}" type="datetime'-''''''''''''9''7''''''''''''5'''''''''''''''''''''''''''">
              <a:rPr lang="en-GB" altLang="en-US" sz="1400" b="1" smtClean="0"/>
              <a:pPr/>
              <a:t>-975</a:t>
            </a:fld>
            <a:endParaRPr lang="en-GB" sz="1400" b="1" dirty="0">
              <a:sym typeface="+mn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626419E-1770-461C-B169-1A28CE9769C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792913" y="3724275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4377C7-E3A0-4F75-9525-93272C2BD57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793163" y="372427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4112AE7-C64B-456E-BD58-BD23AD19912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094538" y="3719513"/>
            <a:ext cx="15970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B6F698F-C7B6-4EE5-B8BC-BE4B266C386C}" type="datetime'Eve''''nt''''''''''''''s o''''g ''ak''t''i''''vite''t''e''r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vents og aktiviteter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36FBA345-2F71-49BC-BC6C-0A4F04E7B2D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094788" y="3719513"/>
            <a:ext cx="1162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AC3D3D-7E4D-483E-94F1-27A3CE88ECFD}" type="datetime'''''''''Øv''r''i''''''''''''ge ''''u''d''g''''''''if''te''r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Øvrige udgifter</a:t>
            </a:fld>
            <a:endParaRPr lang="en-US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879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udget 2020</a:t>
            </a:r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38877" y="745341"/>
            <a:ext cx="5395124" cy="445928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SPØRGSMÅL?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Bestyrelsen i Møllebanden anbefaler, at budgettet for 2020 godkendes</a:t>
            </a:r>
          </a:p>
          <a:p>
            <a:endParaRPr lang="da-DK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5</a:t>
            </a:fld>
            <a:endParaRPr lang="da-DK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4F97D77-B110-4E7B-952E-9B30A8AA26B0}"/>
              </a:ext>
            </a:extLst>
          </p:cNvPr>
          <p:cNvGraphicFramePr>
            <a:graphicFrameLocks noGrp="1"/>
          </p:cNvGraphicFramePr>
          <p:nvPr/>
        </p:nvGraphicFramePr>
        <p:xfrm>
          <a:off x="538162" y="1685925"/>
          <a:ext cx="3960000" cy="3810000"/>
        </p:xfrm>
        <a:graphic>
          <a:graphicData uri="http://schemas.openxmlformats.org/drawingml/2006/table">
            <a:tbl>
              <a:tblPr/>
              <a:tblGrid>
                <a:gridCol w="2520000">
                  <a:extLst>
                    <a:ext uri="{9D8B030D-6E8A-4147-A177-3AD203B41FA5}">
                      <a16:colId xmlns:a16="http://schemas.microsoft.com/office/drawing/2014/main" val="3293677129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6528497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 20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5276575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3236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g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GRE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lsku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1.68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972197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1.68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58118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24345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44153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29411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2.00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1930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   2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6349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  25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70652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   44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46199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 udgifter og gebyr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   22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18132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2.336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3607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259805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29792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primo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1.152.55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22779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1.68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875981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2.336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92197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-656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99194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ultimo 2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r.     496.55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228085"/>
                  </a:ext>
                </a:extLst>
              </a:tr>
            </a:tbl>
          </a:graphicData>
        </a:graphic>
      </p:graphicFrame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1E443AE1-BFC8-4757-A448-5326EF008DE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1088349"/>
              </p:ext>
            </p:extLst>
          </p:nvPr>
        </p:nvGraphicFramePr>
        <p:xfrm>
          <a:off x="6642100" y="4083050"/>
          <a:ext cx="3389313" cy="1204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4DDB341-378D-460C-80AD-741BD92E4A2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335963" y="41068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A97824F-D3E2-467D-94F3-B16E180CC27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335963" y="4106863"/>
            <a:ext cx="10747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4DE44A3-D546-4083-ACA0-75CE4439785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410700" y="4106863"/>
            <a:ext cx="0" cy="5000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D9EEAFE-14AF-4034-9444-4A2019A7BBD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207500" y="526415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E2557E4-C52E-4DCE-9AB3-753CCEACE644}" type="datetime'''''''''''2''''''''0''''''''''''''2''0'''''''''''''''''''''">
              <a:rPr lang="en-GB" altLang="en-US" sz="1400" smtClean="0"/>
              <a:pPr/>
              <a:t>2020</a:t>
            </a:fld>
            <a:endParaRPr lang="en-US" sz="1400" dirty="0"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E6314DC-C4E9-42DB-AF1F-F1529E09E03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89900" y="4221163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7BED18C-3B2C-4141-ACDA-35DFAFF458F5}" type="datetime'1''''''''''''''.''''1''''''''5''''''''''3'">
              <a:rPr lang="en-GB" altLang="en-US" sz="1400" smtClean="0"/>
              <a:pPr/>
              <a:t>1.153</a:t>
            </a:fld>
            <a:endParaRPr lang="en-GB" sz="1400" dirty="0"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BA672EB-9970-4F15-BD9F-B55D4CA6B09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015163" y="3927475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494A51-15B9-40A0-A25D-1999994AB0F8}" type="datetime'''''''''1''.''''''''''''''606'''''''''''''''''">
              <a:rPr lang="en-GB" altLang="en-US" sz="1400" smtClean="0">
                <a:sym typeface="+mn-lt"/>
              </a:rPr>
              <a:pPr/>
              <a:t>1.606</a:t>
            </a:fld>
            <a:endParaRPr lang="en-GB" sz="14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8A67F4F-8F18-4B08-9CE4-15A915E687F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58025" y="526415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13D655-4422-4364-9172-DE030BA0566F}" type="datetime'''2''''''''''0''''''''''''''1''''''''''''8'''''''''''">
              <a:rPr lang="en-GB" altLang="en-US" sz="1400" smtClean="0"/>
              <a:pPr/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C5EE86D-90DC-43FB-91E0-042A768F72B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32763" y="526415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93CA7E-9526-4CE5-8048-2104B58BE611}" type="datetime'2''''''''''''0''''1''''9'''''''''''''''''''">
              <a:rPr lang="en-GB" altLang="en-US" sz="1400" smtClean="0"/>
              <a:pPr/>
              <a:t>2019</a:t>
            </a:fld>
            <a:endParaRPr lang="en-US" sz="1400" dirty="0"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C0543D2-EE86-4BF6-94E2-DBB2010B93A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21713" y="3956050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FDA736A-8B0C-4DDF-A98B-5CB970E71933}" type="datetime'''''''''-''''''''6''''''56'''''''''''''''''''''''''''">
              <a:rPr lang="en-GB" altLang="en-US" sz="1400" b="1" smtClean="0"/>
              <a:pPr/>
              <a:t>-656</a:t>
            </a:fld>
            <a:endParaRPr lang="en-GB" sz="1400" b="1" dirty="0">
              <a:sym typeface="+mn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6844506" y="5519797"/>
            <a:ext cx="338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Egenkapitaludvikling</a:t>
            </a:r>
            <a:r>
              <a:rPr lang="en-GB" dirty="0"/>
              <a:t> / </a:t>
            </a:r>
            <a:r>
              <a:rPr lang="en-GB" dirty="0" err="1"/>
              <a:t>kDK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90661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Formandens beretning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Møllebandens Events​ 2019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00 	</a:t>
            </a:r>
            <a:r>
              <a:rPr lang="da-DK" sz="1600" b="1" dirty="0"/>
              <a:t>Underholdning ved Adam </a:t>
            </a:r>
            <a:r>
              <a:rPr lang="da-DK" sz="1600" b="1" dirty="0" err="1"/>
              <a:t>Aldridge</a:t>
            </a:r>
            <a:endParaRPr lang="da-DK" sz="1600" b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6972812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98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Underholdning / Adam Aldridg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AC475ED-962D-434F-BAA6-B435B082B3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3565" name="Picture 13">
            <a:extLst>
              <a:ext uri="{FF2B5EF4-FFF2-40B4-BE49-F238E27FC236}">
                <a16:creationId xmlns:a16="http://schemas.microsoft.com/office/drawing/2014/main" id="{5D0D7B58-069E-4474-8780-6D7864D6E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08390"/>
            <a:ext cx="12192000" cy="4511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648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Formandens beretning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Møllebandens Events​ 2019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8.00 </a:t>
            </a: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Underholdning ved Adam </a:t>
            </a:r>
            <a:r>
              <a:rPr lang="da-DK" sz="1600" dirty="0" err="1">
                <a:solidFill>
                  <a:schemeClr val="bg1">
                    <a:lumMod val="50000"/>
                  </a:schemeClr>
                </a:solidFill>
              </a:rPr>
              <a:t>Aldridge</a:t>
            </a:r>
            <a:endParaRPr lang="da-DK" sz="16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9.00 </a:t>
            </a:r>
            <a:r>
              <a:rPr lang="da-DK" sz="1600" dirty="0"/>
              <a:t>	</a:t>
            </a:r>
            <a:r>
              <a:rPr lang="da-DK" sz="1600" b="1" dirty="0"/>
              <a:t>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21108853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70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Spisning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9</a:t>
            </a:fld>
            <a:endParaRPr lang="da-DK" dirty="0"/>
          </a:p>
        </p:txBody>
      </p:sp>
      <p:pic>
        <p:nvPicPr>
          <p:cNvPr id="9" name="Picture 8" descr="A group of people preparing food in a kitchen&#10;&#10;Description automatically generated">
            <a:extLst>
              <a:ext uri="{FF2B5EF4-FFF2-40B4-BE49-F238E27FC236}">
                <a16:creationId xmlns:a16="http://schemas.microsoft.com/office/drawing/2014/main" id="{96A5ECB7-2257-451A-9DC3-F4D8ADC7F8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4311" y="551982"/>
            <a:ext cx="4121689" cy="5495585"/>
          </a:xfrm>
          <a:prstGeom prst="rect">
            <a:avLst/>
          </a:prstGeom>
        </p:spPr>
      </p:pic>
      <p:pic>
        <p:nvPicPr>
          <p:cNvPr id="13" name="Picture 12" descr="A group of people preparing food on a table&#10;&#10;Description automatically generated">
            <a:extLst>
              <a:ext uri="{FF2B5EF4-FFF2-40B4-BE49-F238E27FC236}">
                <a16:creationId xmlns:a16="http://schemas.microsoft.com/office/drawing/2014/main" id="{C9507392-1AFB-450A-9EBC-B16612D992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553" y="551980"/>
            <a:ext cx="4121690" cy="549558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D97F015-A141-4702-B719-EDB9EDA39F3B}"/>
              </a:ext>
            </a:extLst>
          </p:cNvPr>
          <p:cNvSpPr txBox="1"/>
          <p:nvPr/>
        </p:nvSpPr>
        <p:spPr>
          <a:xfrm>
            <a:off x="1984039" y="5739318"/>
            <a:ext cx="412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 err="1">
                <a:solidFill>
                  <a:schemeClr val="bg1"/>
                </a:solidFill>
              </a:rPr>
              <a:t>Vietnamesisk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GB" sz="1400" dirty="0" err="1">
                <a:solidFill>
                  <a:schemeClr val="bg1"/>
                </a:solidFill>
              </a:rPr>
              <a:t>kokkeskole</a:t>
            </a:r>
            <a:r>
              <a:rPr lang="en-GB" sz="1400" dirty="0">
                <a:solidFill>
                  <a:schemeClr val="bg1"/>
                </a:solidFill>
              </a:rPr>
              <a:t> – April 2019</a:t>
            </a:r>
          </a:p>
        </p:txBody>
      </p:sp>
    </p:spTree>
    <p:extLst>
      <p:ext uri="{BB962C8B-B14F-4D97-AF65-F5344CB8AC3E}">
        <p14:creationId xmlns:p14="http://schemas.microsoft.com/office/powerpoint/2010/main" val="2065156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83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 descr="A picture containing outdoor, snow, people, boat&#10;&#10;Description automatically generated">
            <a:extLst>
              <a:ext uri="{FF2B5EF4-FFF2-40B4-BE49-F238E27FC236}">
                <a16:creationId xmlns:a16="http://schemas.microsoft.com/office/drawing/2014/main" id="{AD2BEBF2-3C7E-469D-A462-369B1E3C3F0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" b="2530"/>
          <a:stretch/>
        </p:blipFill>
        <p:spPr>
          <a:xfrm>
            <a:off x="-31644" y="-825138"/>
            <a:ext cx="12223644" cy="6768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32" y="4286144"/>
            <a:ext cx="8460000" cy="553998"/>
          </a:xfrm>
        </p:spPr>
        <p:txBody>
          <a:bodyPr/>
          <a:lstStyle/>
          <a:p>
            <a:r>
              <a:rPr lang="da-DK" sz="3600" dirty="0">
                <a:ln>
                  <a:solidFill>
                    <a:sysClr val="windowText" lastClr="000000"/>
                  </a:solidFill>
                </a:ln>
              </a:rPr>
              <a:t>Velkom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903299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Formandens beretning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Møllebandens Events​ 2019</a:t>
            </a:r>
            <a:endParaRPr lang="da-DK" sz="16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8.00 </a:t>
            </a:r>
            <a:r>
              <a:rPr lang="da-DK" sz="1600" dirty="0"/>
              <a:t>	</a:t>
            </a: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Underholdning ved Adam </a:t>
            </a:r>
            <a:r>
              <a:rPr lang="da-DK" sz="1600" dirty="0" err="1">
                <a:solidFill>
                  <a:schemeClr val="bg1">
                    <a:lumMod val="50000"/>
                  </a:schemeClr>
                </a:solidFill>
              </a:rPr>
              <a:t>Aldridge</a:t>
            </a:r>
            <a:endParaRPr lang="da-DK" sz="16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20.00 </a:t>
            </a:r>
            <a:r>
              <a:rPr lang="da-DK" sz="1600" dirty="0"/>
              <a:t>	</a:t>
            </a:r>
            <a:r>
              <a:rPr lang="da-DK" sz="1600" b="1" dirty="0"/>
              <a:t>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1850186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868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Valg af </a:t>
            </a:r>
            <a:r>
              <a:rPr lang="da-DK"/>
              <a:t>bestyrelsesmedlemmer​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1</a:t>
            </a:fld>
            <a:endParaRPr lang="da-DK" dirty="0"/>
          </a:p>
        </p:txBody>
      </p:sp>
      <p:pic>
        <p:nvPicPr>
          <p:cNvPr id="12" name="Picture 11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5C0B706E-CE3E-4A83-8725-FBEA42A7C4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1" r="18058"/>
          <a:stretch/>
        </p:blipFill>
        <p:spPr>
          <a:xfrm>
            <a:off x="5626984" y="647999"/>
            <a:ext cx="6581700" cy="533451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36469C9-C493-4E0E-B7A3-E1A77E465489}"/>
              </a:ext>
            </a:extLst>
          </p:cNvPr>
          <p:cNvSpPr txBox="1"/>
          <p:nvPr/>
        </p:nvSpPr>
        <p:spPr>
          <a:xfrm>
            <a:off x="481595" y="1371600"/>
            <a:ext cx="5145389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/>
              <a:t>Bestyrelsen</a:t>
            </a:r>
            <a:r>
              <a:rPr lang="en-GB" sz="1400" dirty="0"/>
              <a:t> 2019:</a:t>
            </a:r>
          </a:p>
          <a:p>
            <a:endParaRPr lang="en-GB" sz="1400" dirty="0"/>
          </a:p>
          <a:p>
            <a:pPr>
              <a:spcBef>
                <a:spcPts val="600"/>
              </a:spcBef>
            </a:pPr>
            <a:r>
              <a:rPr lang="en-GB" sz="1400" dirty="0"/>
              <a:t>Birgitte Hemdorff Espersen		2018/2019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Henrik Dalgaard Jensen, </a:t>
            </a:r>
            <a:r>
              <a:rPr lang="en-GB" sz="1400" dirty="0" err="1"/>
              <a:t>Næstformand</a:t>
            </a:r>
            <a:r>
              <a:rPr lang="en-GB" sz="1400" dirty="0"/>
              <a:t>	2018/2019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Jan Rene Kolding Wandsoe		2019/2020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Jens Skov Andersen (</a:t>
            </a:r>
            <a:r>
              <a:rPr lang="en-GB" sz="1400" dirty="0" err="1"/>
              <a:t>udtrådt</a:t>
            </a:r>
            <a:r>
              <a:rPr lang="en-GB" sz="1400" dirty="0"/>
              <a:t>)		2018/2019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Michelle Lynnerup			2019/2020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Vibeke Lund			2019/2020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Tabea Schadwinkel, </a:t>
            </a:r>
            <a:r>
              <a:rPr lang="en-GB" sz="1400" dirty="0" err="1"/>
              <a:t>Kasserer</a:t>
            </a:r>
            <a:r>
              <a:rPr lang="en-GB" sz="1400" dirty="0"/>
              <a:t>		2019/2020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Taus Wind-Larsen, </a:t>
            </a:r>
            <a:r>
              <a:rPr lang="en-GB" sz="1400" dirty="0" err="1"/>
              <a:t>Formand</a:t>
            </a:r>
            <a:r>
              <a:rPr lang="en-GB" sz="1400" dirty="0"/>
              <a:t>		2018/2019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Tina Byskov			2018/2019</a:t>
            </a:r>
          </a:p>
          <a:p>
            <a:pPr>
              <a:spcBef>
                <a:spcPts val="600"/>
              </a:spcBef>
            </a:pPr>
            <a:endParaRPr lang="en-GB" sz="1400" dirty="0"/>
          </a:p>
          <a:p>
            <a:pPr>
              <a:spcBef>
                <a:spcPts val="600"/>
              </a:spcBef>
            </a:pPr>
            <a:r>
              <a:rPr lang="en-GB" sz="1400" dirty="0" err="1"/>
              <a:t>Suppleanter</a:t>
            </a:r>
            <a:r>
              <a:rPr lang="en-GB" sz="1400" dirty="0"/>
              <a:t>: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Katharina Nygaard Nielsen		2019</a:t>
            </a:r>
          </a:p>
          <a:p>
            <a:pPr>
              <a:spcBef>
                <a:spcPts val="600"/>
              </a:spcBef>
            </a:pPr>
            <a:r>
              <a:rPr lang="en-GB" sz="1400" dirty="0"/>
              <a:t>Nicolas Le Tallec			201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D42570-DEFC-4FB1-B95A-215A23A18C38}"/>
              </a:ext>
            </a:extLst>
          </p:cNvPr>
          <p:cNvSpPr txBox="1"/>
          <p:nvPr/>
        </p:nvSpPr>
        <p:spPr>
          <a:xfrm>
            <a:off x="4153711" y="1878404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459B67D-A9F4-48B1-98FD-00D24DF8A9A0}"/>
              </a:ext>
            </a:extLst>
          </p:cNvPr>
          <p:cNvSpPr txBox="1"/>
          <p:nvPr/>
        </p:nvSpPr>
        <p:spPr>
          <a:xfrm>
            <a:off x="4153711" y="2175617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3EFE33B-4CF8-4786-A932-78C65A652C3D}"/>
              </a:ext>
            </a:extLst>
          </p:cNvPr>
          <p:cNvSpPr txBox="1"/>
          <p:nvPr/>
        </p:nvSpPr>
        <p:spPr>
          <a:xfrm>
            <a:off x="4153711" y="2745328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9A3B5E-00FB-4194-89C6-8CF240F129B5}"/>
              </a:ext>
            </a:extLst>
          </p:cNvPr>
          <p:cNvSpPr txBox="1"/>
          <p:nvPr/>
        </p:nvSpPr>
        <p:spPr>
          <a:xfrm>
            <a:off x="4153711" y="3912817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9A80165-E3F5-4FFE-B901-CC2365D8C0F6}"/>
              </a:ext>
            </a:extLst>
          </p:cNvPr>
          <p:cNvSpPr txBox="1"/>
          <p:nvPr/>
        </p:nvSpPr>
        <p:spPr>
          <a:xfrm>
            <a:off x="4153711" y="4220718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489F7F-024B-4F10-8ABA-338096CCB7B0}"/>
              </a:ext>
            </a:extLst>
          </p:cNvPr>
          <p:cNvSpPr txBox="1"/>
          <p:nvPr/>
        </p:nvSpPr>
        <p:spPr>
          <a:xfrm>
            <a:off x="4153711" y="5053666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751953-B1DF-4124-9FB0-70C4F871B665}"/>
              </a:ext>
            </a:extLst>
          </p:cNvPr>
          <p:cNvSpPr txBox="1"/>
          <p:nvPr/>
        </p:nvSpPr>
        <p:spPr>
          <a:xfrm>
            <a:off x="4153711" y="5350879"/>
            <a:ext cx="95331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PÅ VAL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481595" y="5750797"/>
            <a:ext cx="462542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</a:rPr>
              <a:t>5 BESTYRELSESPLADSER +</a:t>
            </a:r>
          </a:p>
          <a:p>
            <a:r>
              <a:rPr lang="en-GB" sz="1400" dirty="0">
                <a:solidFill>
                  <a:srgbClr val="FF0000"/>
                </a:solidFill>
              </a:rPr>
              <a:t>2 SUPPLEANTER SKAL VÆLG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07035A-C41A-4688-B51D-83CF0ABCC84E}"/>
              </a:ext>
            </a:extLst>
          </p:cNvPr>
          <p:cNvSpPr txBox="1"/>
          <p:nvPr/>
        </p:nvSpPr>
        <p:spPr>
          <a:xfrm>
            <a:off x="3816484" y="1886132"/>
            <a:ext cx="16277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</a:rPr>
              <a:t>GENOPSTILL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946AA28-0592-4B50-A9F1-8828E442A725}"/>
              </a:ext>
            </a:extLst>
          </p:cNvPr>
          <p:cNvSpPr txBox="1"/>
          <p:nvPr/>
        </p:nvSpPr>
        <p:spPr>
          <a:xfrm>
            <a:off x="3816485" y="2186181"/>
            <a:ext cx="16277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</a:rPr>
              <a:t>GENOPSTILL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D81D3E-4562-4CD6-9D38-69F3DC3B74A9}"/>
              </a:ext>
            </a:extLst>
          </p:cNvPr>
          <p:cNvSpPr txBox="1"/>
          <p:nvPr/>
        </p:nvSpPr>
        <p:spPr>
          <a:xfrm>
            <a:off x="3816484" y="3912817"/>
            <a:ext cx="16277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</a:rPr>
              <a:t>GENOPSTILLER</a:t>
            </a:r>
          </a:p>
        </p:txBody>
      </p:sp>
    </p:spTree>
    <p:extLst>
      <p:ext uri="{BB962C8B-B14F-4D97-AF65-F5344CB8AC3E}">
        <p14:creationId xmlns:p14="http://schemas.microsoft.com/office/powerpoint/2010/main" val="596892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229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Valg af </a:t>
            </a:r>
            <a:r>
              <a:rPr lang="da-DK"/>
              <a:t>bestyrelsesmedlemmer​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2</a:t>
            </a:fld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3431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5 </a:t>
            </a:r>
            <a:r>
              <a:rPr lang="en-GB" sz="1400" dirty="0" err="1"/>
              <a:t>bestyrelsesmedlemmer</a:t>
            </a:r>
            <a:r>
              <a:rPr lang="en-GB" sz="1400" dirty="0"/>
              <a:t> og 2 </a:t>
            </a:r>
            <a:r>
              <a:rPr lang="en-GB" sz="1400" dirty="0" err="1"/>
              <a:t>suppleanter</a:t>
            </a:r>
            <a:r>
              <a:rPr lang="en-GB" sz="1400" dirty="0"/>
              <a:t> </a:t>
            </a:r>
            <a:r>
              <a:rPr lang="en-GB" sz="1400" dirty="0" err="1"/>
              <a:t>skal</a:t>
            </a:r>
            <a:r>
              <a:rPr lang="en-GB" sz="1400" dirty="0"/>
              <a:t> </a:t>
            </a:r>
            <a:r>
              <a:rPr lang="en-GB" sz="1400" dirty="0" err="1"/>
              <a:t>vælges</a:t>
            </a:r>
            <a:r>
              <a:rPr lang="en-GB" sz="1400" dirty="0"/>
              <a:t>.</a:t>
            </a:r>
          </a:p>
          <a:p>
            <a:r>
              <a:rPr lang="en-GB" sz="1400" dirty="0"/>
              <a:t>Den </a:t>
            </a:r>
            <a:r>
              <a:rPr lang="en-GB" sz="1400" dirty="0" err="1"/>
              <a:t>suppleant</a:t>
            </a:r>
            <a:r>
              <a:rPr lang="en-GB" sz="1400" dirty="0"/>
              <a:t> med </a:t>
            </a:r>
            <a:r>
              <a:rPr lang="en-GB" sz="1400" dirty="0" err="1"/>
              <a:t>flest</a:t>
            </a:r>
            <a:r>
              <a:rPr lang="en-GB" sz="1400" dirty="0"/>
              <a:t> stemmer </a:t>
            </a:r>
            <a:r>
              <a:rPr lang="en-GB" sz="1400" dirty="0" err="1"/>
              <a:t>træder</a:t>
            </a:r>
            <a:r>
              <a:rPr lang="en-GB" sz="1400" dirty="0"/>
              <a:t> </a:t>
            </a:r>
            <a:r>
              <a:rPr lang="en-GB" sz="1400" dirty="0" err="1"/>
              <a:t>direkte</a:t>
            </a:r>
            <a:r>
              <a:rPr lang="en-GB" sz="1400" dirty="0"/>
              <a:t> i </a:t>
            </a:r>
            <a:r>
              <a:rPr lang="en-GB" sz="1400" dirty="0" err="1"/>
              <a:t>bestyrelsen</a:t>
            </a:r>
            <a:r>
              <a:rPr lang="en-GB" sz="1400" dirty="0"/>
              <a:t> </a:t>
            </a:r>
            <a:r>
              <a:rPr lang="en-GB" sz="1400" dirty="0" err="1"/>
              <a:t>imens</a:t>
            </a:r>
            <a:r>
              <a:rPr lang="en-GB" sz="1400" dirty="0"/>
              <a:t> Tabea </a:t>
            </a:r>
            <a:r>
              <a:rPr lang="en-GB" sz="1400" dirty="0" err="1"/>
              <a:t>er</a:t>
            </a:r>
            <a:r>
              <a:rPr lang="en-GB" sz="1400" dirty="0"/>
              <a:t> </a:t>
            </a:r>
            <a:r>
              <a:rPr lang="en-GB" sz="1400" dirty="0" err="1"/>
              <a:t>på</a:t>
            </a:r>
            <a:r>
              <a:rPr lang="en-GB" sz="1400" dirty="0"/>
              <a:t> </a:t>
            </a:r>
            <a:r>
              <a:rPr lang="en-GB" sz="1400" dirty="0" err="1"/>
              <a:t>barsel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b="1" dirty="0" err="1"/>
              <a:t>Hvem</a:t>
            </a:r>
            <a:r>
              <a:rPr lang="en-GB" sz="1400" b="1" dirty="0"/>
              <a:t> stiller op?</a:t>
            </a:r>
          </a:p>
          <a:p>
            <a:endParaRPr lang="en-GB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Birgitte Hemdorff Espe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Henrik Dalgaard Jen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Taus Wind-La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</p:txBody>
      </p:sp>
      <p:pic>
        <p:nvPicPr>
          <p:cNvPr id="14" name="Picture 1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94A6DE59-30C0-4821-900A-6DA399FA103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1" r="18058"/>
          <a:stretch/>
        </p:blipFill>
        <p:spPr>
          <a:xfrm>
            <a:off x="5626984" y="647999"/>
            <a:ext cx="6581700" cy="5334511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3AA5083B-3F07-4253-8B5D-3E90F12B3B82}"/>
              </a:ext>
            </a:extLst>
          </p:cNvPr>
          <p:cNvSpPr/>
          <p:nvPr/>
        </p:nvSpPr>
        <p:spPr>
          <a:xfrm>
            <a:off x="6177064" y="1439694"/>
            <a:ext cx="826851" cy="10311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ln>
                  <a:solidFill>
                    <a:sysClr val="windowText" lastClr="000000"/>
                  </a:solidFill>
                </a:ln>
                <a:solidFill>
                  <a:srgbClr val="0070C0"/>
                </a:solidFill>
              </a:rPr>
              <a:t>?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C0FF0BB-4C9E-4AA4-9008-967459517160}"/>
              </a:ext>
            </a:extLst>
          </p:cNvPr>
          <p:cNvSpPr/>
          <p:nvPr/>
        </p:nvSpPr>
        <p:spPr>
          <a:xfrm>
            <a:off x="7677557" y="1338774"/>
            <a:ext cx="826851" cy="10311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ln>
                  <a:solidFill>
                    <a:sysClr val="windowText" lastClr="000000"/>
                  </a:solidFill>
                </a:ln>
                <a:solidFill>
                  <a:srgbClr val="0070C0"/>
                </a:solidFill>
              </a:rPr>
              <a:t>?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A60E5D4-6D01-4E92-9267-AA8DCDBD0086}"/>
              </a:ext>
            </a:extLst>
          </p:cNvPr>
          <p:cNvSpPr/>
          <p:nvPr/>
        </p:nvSpPr>
        <p:spPr>
          <a:xfrm>
            <a:off x="7260077" y="1922445"/>
            <a:ext cx="826851" cy="10311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ln>
                  <a:solidFill>
                    <a:sysClr val="windowText" lastClr="000000"/>
                  </a:solidFill>
                </a:ln>
                <a:solidFill>
                  <a:srgbClr val="0070C0"/>
                </a:solidFill>
              </a:rPr>
              <a:t>?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9F0208A-F073-43E0-83A9-5130FF54BFB0}"/>
              </a:ext>
            </a:extLst>
          </p:cNvPr>
          <p:cNvSpPr/>
          <p:nvPr/>
        </p:nvSpPr>
        <p:spPr>
          <a:xfrm>
            <a:off x="9006736" y="1439694"/>
            <a:ext cx="826851" cy="10311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ln>
                  <a:solidFill>
                    <a:sysClr val="windowText" lastClr="000000"/>
                  </a:solidFill>
                </a:ln>
                <a:solidFill>
                  <a:srgbClr val="0070C0"/>
                </a:solidFill>
              </a:rPr>
              <a:t>?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08399B7-5DD9-428E-AE1F-3097F41B2808}"/>
              </a:ext>
            </a:extLst>
          </p:cNvPr>
          <p:cNvSpPr/>
          <p:nvPr/>
        </p:nvSpPr>
        <p:spPr>
          <a:xfrm>
            <a:off x="7126055" y="3429000"/>
            <a:ext cx="826851" cy="10311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ln>
                  <a:solidFill>
                    <a:sysClr val="windowText" lastClr="000000"/>
                  </a:solidFill>
                </a:ln>
                <a:solidFill>
                  <a:srgbClr val="0070C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368242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Valg af </a:t>
            </a:r>
            <a:r>
              <a:rPr lang="da-DK"/>
              <a:t>bestyrelsesmedlemmer​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3</a:t>
            </a:fld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5 </a:t>
            </a:r>
            <a:r>
              <a:rPr lang="en-GB" sz="1400" dirty="0" err="1"/>
              <a:t>bestyrelsesmedlemmer</a:t>
            </a:r>
            <a:r>
              <a:rPr lang="en-GB" sz="1400" dirty="0"/>
              <a:t> og 2 </a:t>
            </a:r>
            <a:r>
              <a:rPr lang="en-GB" sz="1400" dirty="0" err="1"/>
              <a:t>suppleanter</a:t>
            </a:r>
            <a:r>
              <a:rPr lang="en-GB" sz="1400" dirty="0"/>
              <a:t> </a:t>
            </a:r>
            <a:r>
              <a:rPr lang="en-GB" sz="1400" dirty="0" err="1"/>
              <a:t>skal</a:t>
            </a:r>
            <a:r>
              <a:rPr lang="en-GB" sz="1400" dirty="0"/>
              <a:t> </a:t>
            </a:r>
            <a:r>
              <a:rPr lang="en-GB" sz="1400" dirty="0" err="1"/>
              <a:t>vælges</a:t>
            </a:r>
            <a:r>
              <a:rPr lang="en-GB" sz="1400" dirty="0"/>
              <a:t>.</a:t>
            </a:r>
          </a:p>
          <a:p>
            <a:r>
              <a:rPr lang="en-GB" sz="1400" dirty="0"/>
              <a:t>Den </a:t>
            </a:r>
            <a:r>
              <a:rPr lang="en-GB" sz="1400" dirty="0" err="1"/>
              <a:t>suppleant</a:t>
            </a:r>
            <a:r>
              <a:rPr lang="en-GB" sz="1400" dirty="0"/>
              <a:t> med </a:t>
            </a:r>
            <a:r>
              <a:rPr lang="en-GB" sz="1400" dirty="0" err="1"/>
              <a:t>flest</a:t>
            </a:r>
            <a:r>
              <a:rPr lang="en-GB" sz="1400" dirty="0"/>
              <a:t> stemmer </a:t>
            </a:r>
            <a:r>
              <a:rPr lang="en-GB" sz="1400" dirty="0" err="1"/>
              <a:t>træder</a:t>
            </a:r>
            <a:r>
              <a:rPr lang="en-GB" sz="1400" dirty="0"/>
              <a:t> </a:t>
            </a:r>
            <a:r>
              <a:rPr lang="en-GB" sz="1400" dirty="0" err="1"/>
              <a:t>direkte</a:t>
            </a:r>
            <a:r>
              <a:rPr lang="en-GB" sz="1400" dirty="0"/>
              <a:t> i </a:t>
            </a:r>
            <a:r>
              <a:rPr lang="en-GB" sz="1400" dirty="0" err="1"/>
              <a:t>bestyrelsen</a:t>
            </a:r>
            <a:r>
              <a:rPr lang="en-GB" sz="1400" dirty="0"/>
              <a:t> </a:t>
            </a:r>
            <a:r>
              <a:rPr lang="en-GB" sz="1400" dirty="0" err="1"/>
              <a:t>imens</a:t>
            </a:r>
            <a:r>
              <a:rPr lang="en-GB" sz="1400" dirty="0"/>
              <a:t> Tabea </a:t>
            </a:r>
            <a:r>
              <a:rPr lang="en-GB" sz="1400" dirty="0" err="1"/>
              <a:t>er</a:t>
            </a:r>
            <a:r>
              <a:rPr lang="en-GB" sz="1400" dirty="0"/>
              <a:t> </a:t>
            </a:r>
            <a:r>
              <a:rPr lang="en-GB" sz="1400" dirty="0" err="1"/>
              <a:t>på</a:t>
            </a:r>
            <a:r>
              <a:rPr lang="en-GB" sz="1400" dirty="0"/>
              <a:t> </a:t>
            </a:r>
            <a:r>
              <a:rPr lang="en-GB" sz="1400" dirty="0" err="1"/>
              <a:t>barsel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b="1" dirty="0" err="1"/>
              <a:t>Hvem</a:t>
            </a:r>
            <a:r>
              <a:rPr lang="en-GB" sz="1400" b="1" dirty="0"/>
              <a:t> stiller op?</a:t>
            </a:r>
          </a:p>
          <a:p>
            <a:endParaRPr lang="en-GB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1EC477-9E28-4077-B5F3-D8FB8ED17B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6133B38-1E95-4FEE-B3E5-55C868C720DB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 dirty="0"/>
              <a:t>SKRIV OP TIL 5 NAVNE PÅ STEMMESEDLEN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4DC5CA-0DBA-4A0B-9D05-7BDC080A9F2E}"/>
              </a:ext>
            </a:extLst>
          </p:cNvPr>
          <p:cNvSpPr txBox="1"/>
          <p:nvPr/>
        </p:nvSpPr>
        <p:spPr>
          <a:xfrm>
            <a:off x="538162" y="2756595"/>
            <a:ext cx="5269251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Birgitte Hemdorff Espe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Henrik Dalgaard Jen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Taus Wind-La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Lone Jakob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Nicolas Le Tallec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Allan Bilber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Xenia </a:t>
            </a:r>
            <a:r>
              <a:rPr lang="en-GB" dirty="0" err="1"/>
              <a:t>Laustén</a:t>
            </a:r>
            <a:endParaRPr lang="en-GB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Thomas Kragsi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64677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38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Valg af revisor 2020 &amp; stemmeoptælling</a:t>
            </a:r>
          </a:p>
        </p:txBody>
      </p:sp>
      <p:pic>
        <p:nvPicPr>
          <p:cNvPr id="9" name="Content Placeholder 8" descr="A picture containing table, book, sitting, paper&#10;&#10;Description automatically generated">
            <a:extLst>
              <a:ext uri="{FF2B5EF4-FFF2-40B4-BE49-F238E27FC236}">
                <a16:creationId xmlns:a16="http://schemas.microsoft.com/office/drawing/2014/main" id="{B8DADC98-2AD0-4CF6-AE57-AF13633CE5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801" y="717337"/>
            <a:ext cx="3886200" cy="5181601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60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Resultat </a:t>
            </a:r>
            <a:r>
              <a:rPr lang="da-DK"/>
              <a:t>af valg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5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DB1174-4788-402B-9DDF-1A86A8C4144E}"/>
              </a:ext>
            </a:extLst>
          </p:cNvPr>
          <p:cNvSpPr txBox="1"/>
          <p:nvPr/>
        </p:nvSpPr>
        <p:spPr>
          <a:xfrm>
            <a:off x="538162" y="2756595"/>
            <a:ext cx="5269251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Birgitte Hemdorff Espersen - 48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Henrik Dalgaard Jensen - 53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Taus Wind-Larsen - 55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Lone Jakobsen - 5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Nicolas Le Tallec - 37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Allan Bilberg - 2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Xenia </a:t>
            </a:r>
            <a:r>
              <a:rPr lang="en-GB" dirty="0" err="1"/>
              <a:t>Laustén</a:t>
            </a:r>
            <a:r>
              <a:rPr lang="en-GB" dirty="0"/>
              <a:t> - 18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/>
              <a:t>Thomas Kragsig -22</a:t>
            </a:r>
          </a:p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4262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dirty="0"/>
              <a:t>Bestyrelsespladser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Birgitte Hemdorff Espersen - 48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Henrik Dalgaard Jensen - 53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Taus Wind-Larsen - 55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Lone Jakobsen - 5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Nicolas Le Tallec - 37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dirty="0"/>
          </a:p>
          <a:p>
            <a:pPr>
              <a:spcBef>
                <a:spcPts val="600"/>
              </a:spcBef>
            </a:pPr>
            <a:r>
              <a:rPr lang="da-DK" dirty="0"/>
              <a:t>1. Supplea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Thomas Kragsig -2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dirty="0"/>
          </a:p>
          <a:p>
            <a:pPr>
              <a:spcBef>
                <a:spcPts val="600"/>
              </a:spcBef>
            </a:pPr>
            <a:r>
              <a:rPr lang="da-DK" dirty="0"/>
              <a:t>2. Supplea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Allan Bilberg - 22</a:t>
            </a: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81BED0-980D-41AC-854E-6DE5242C5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993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81BED0-980D-41AC-854E-6DE5242C5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E87B6A6-3620-460F-91AE-700C2028E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1355" y="0"/>
            <a:ext cx="9340645" cy="60452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2FF594-147D-4BBC-9EB2-83F2D0652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ventuelt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A8F2D-3D41-43EB-9407-356EAAB1F6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08343A-4AC1-4807-8BE4-DDD289B4B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06533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 descr="A tent in a field&#10;&#10;Description automatically generated">
            <a:extLst>
              <a:ext uri="{FF2B5EF4-FFF2-40B4-BE49-F238E27FC236}">
                <a16:creationId xmlns:a16="http://schemas.microsoft.com/office/drawing/2014/main" id="{1A2DFC32-3BC1-40DC-A21E-4A5C6287ED1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806"/>
          <a:stretch/>
        </p:blipFill>
        <p:spPr>
          <a:xfrm>
            <a:off x="0" y="-301624"/>
            <a:ext cx="12192000" cy="62357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1" y="648000"/>
            <a:ext cx="11653839" cy="153888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Tak for i aften!</a:t>
            </a:r>
            <a:br>
              <a:rPr lang="da-DK" dirty="0"/>
            </a:br>
            <a:br>
              <a:rPr lang="da-DK" dirty="0"/>
            </a:br>
            <a:r>
              <a:rPr lang="da-DK" dirty="0"/>
              <a:t>Håber vi ses til et af mange Møllebanden events i 2020… </a:t>
            </a:r>
            <a:br>
              <a:rPr lang="da-DK" dirty="0"/>
            </a:br>
            <a:br>
              <a:rPr lang="da-DK" dirty="0"/>
            </a:br>
            <a:r>
              <a:rPr lang="da-DK" dirty="0"/>
              <a:t>							Der er allerede mange at vælge imellem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1884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r>
              <a:rPr lang="da-DK" dirty="0"/>
              <a:t>Valg af dirigent </a:t>
            </a:r>
            <a:r>
              <a:rPr lang="da-DK"/>
              <a:t>&amp; stemmetæller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1 – </a:t>
            </a:r>
            <a:r>
              <a:rPr lang="en-GB" b="1" dirty="0" err="1"/>
              <a:t>Valg</a:t>
            </a:r>
            <a:r>
              <a:rPr lang="en-GB" b="1" dirty="0"/>
              <a:t> </a:t>
            </a:r>
            <a:r>
              <a:rPr lang="en-GB" b="1" dirty="0" err="1"/>
              <a:t>af</a:t>
            </a:r>
            <a:r>
              <a:rPr lang="en-GB" b="1" dirty="0"/>
              <a:t> </a:t>
            </a:r>
            <a:r>
              <a:rPr lang="en-GB" b="1" dirty="0" err="1"/>
              <a:t>dirigent</a:t>
            </a:r>
            <a:endParaRPr lang="en-GB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F7D2C3-2556-4BBF-8804-C88B92AEAF36}"/>
              </a:ext>
            </a:extLst>
          </p:cNvPr>
          <p:cNvSpPr txBox="1"/>
          <p:nvPr/>
        </p:nvSpPr>
        <p:spPr>
          <a:xfrm>
            <a:off x="538162" y="1794439"/>
            <a:ext cx="676731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i="1" dirty="0" err="1"/>
              <a:t>Bestyrelsen</a:t>
            </a:r>
            <a:r>
              <a:rPr lang="en-GB" i="1" dirty="0"/>
              <a:t> </a:t>
            </a:r>
            <a:r>
              <a:rPr lang="en-GB" i="1" dirty="0" err="1"/>
              <a:t>foreslår</a:t>
            </a:r>
            <a:r>
              <a:rPr lang="en-GB" i="1" dirty="0"/>
              <a:t>: Xenia </a:t>
            </a:r>
            <a:r>
              <a:rPr lang="en-GB" i="1" dirty="0" err="1"/>
              <a:t>Laustén</a:t>
            </a:r>
            <a:r>
              <a:rPr lang="en-GB" i="1" dirty="0"/>
              <a:t> </a:t>
            </a:r>
            <a:endParaRPr lang="en-GB" i="1" dirty="0"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2164759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Andre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2 – </a:t>
            </a:r>
            <a:r>
              <a:rPr lang="en-GB" b="1" dirty="0" err="1"/>
              <a:t>Valg</a:t>
            </a:r>
            <a:r>
              <a:rPr lang="en-GB" b="1" dirty="0"/>
              <a:t> </a:t>
            </a:r>
            <a:r>
              <a:rPr lang="en-GB" b="1" dirty="0" err="1"/>
              <a:t>af</a:t>
            </a:r>
            <a:r>
              <a:rPr lang="en-GB" b="1" dirty="0"/>
              <a:t> </a:t>
            </a:r>
            <a:r>
              <a:rPr lang="en-GB" b="1" dirty="0" err="1"/>
              <a:t>tre</a:t>
            </a:r>
            <a:r>
              <a:rPr lang="en-GB" b="1" dirty="0"/>
              <a:t> “</a:t>
            </a:r>
            <a:r>
              <a:rPr lang="en-GB" b="1" dirty="0" err="1"/>
              <a:t>frivillige</a:t>
            </a:r>
            <a:r>
              <a:rPr lang="en-GB" b="1" dirty="0"/>
              <a:t>” </a:t>
            </a:r>
            <a:r>
              <a:rPr lang="en-GB" b="1" dirty="0" err="1"/>
              <a:t>stemmetællere</a:t>
            </a:r>
            <a:r>
              <a:rPr lang="en-GB" b="1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5E63992-983E-48B1-A3AD-6F916346BC60}"/>
              </a:ext>
            </a:extLst>
          </p:cNvPr>
          <p:cNvSpPr txBox="1"/>
          <p:nvPr/>
        </p:nvSpPr>
        <p:spPr>
          <a:xfrm rot="20873157">
            <a:off x="1459149" y="5017121"/>
            <a:ext cx="11478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solidFill>
                  <a:srgbClr val="FF0000"/>
                </a:solidFill>
              </a:rPr>
              <a:t>x 3</a:t>
            </a:r>
          </a:p>
        </p:txBody>
      </p:sp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0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3" y="1412875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Kl. 16.40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>
                <a:solidFill>
                  <a:schemeClr val="bg1">
                    <a:lumMod val="50000"/>
                  </a:schemeClr>
                </a:solidFill>
              </a:rPr>
              <a:t>	Valg af dirigent &amp; stemmetællere​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Formandens beretning – </a:t>
            </a:r>
            <a:r>
              <a:rPr lang="da-DK" sz="1600" b="1" i="1" dirty="0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19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00 	Underholdning ved Adam </a:t>
            </a:r>
            <a:r>
              <a:rPr lang="da-DK" sz="1600" dirty="0" err="1"/>
              <a:t>Aldridge</a:t>
            </a:r>
            <a:endParaRPr lang="da-DK" sz="1600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 	Generalforsamling fortsat og valg til bestyrel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Eventuel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1.00 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163294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2" grpId="0"/>
      <p:bldP spid="14" grpId="0"/>
      <p:bldP spid="2" grpId="0"/>
      <p:bldP spid="13" grpId="0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B7F7E6-FB57-4810-B2D9-2E8DA766756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AFD024-1E49-4697-BC60-6702C6AEE0D2}"/>
              </a:ext>
            </a:extLst>
          </p:cNvPr>
          <p:cNvSpPr txBox="1"/>
          <p:nvPr/>
        </p:nvSpPr>
        <p:spPr>
          <a:xfrm>
            <a:off x="1956391" y="1209926"/>
            <a:ext cx="8420986" cy="397557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da-DK" dirty="0"/>
          </a:p>
        </p:txBody>
      </p:sp>
      <p:graphicFrame>
        <p:nvGraphicFramePr>
          <p:cNvPr id="41985" name="Chart 41984">
            <a:extLst>
              <a:ext uri="{FF2B5EF4-FFF2-40B4-BE49-F238E27FC236}">
                <a16:creationId xmlns:a16="http://schemas.microsoft.com/office/drawing/2014/main" id="{EEACC282-CE44-4D7F-A796-0452152778C4}"/>
              </a:ext>
            </a:extLst>
          </p:cNvPr>
          <p:cNvGraphicFramePr/>
          <p:nvPr/>
        </p:nvGraphicFramePr>
        <p:xfrm>
          <a:off x="2032000" y="1244507"/>
          <a:ext cx="8128000" cy="394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41987" name="Straight Arrow Connector 41986">
            <a:extLst>
              <a:ext uri="{FF2B5EF4-FFF2-40B4-BE49-F238E27FC236}">
                <a16:creationId xmlns:a16="http://schemas.microsoft.com/office/drawing/2014/main" id="{F9A6D2FF-20FF-4F8B-9970-44BFE0B88568}"/>
              </a:ext>
            </a:extLst>
          </p:cNvPr>
          <p:cNvCxnSpPr/>
          <p:nvPr/>
        </p:nvCxnSpPr>
        <p:spPr>
          <a:xfrm flipV="1">
            <a:off x="2892056" y="1792638"/>
            <a:ext cx="5688418" cy="886767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90" name="Straight Arrow Connector 41989">
            <a:extLst>
              <a:ext uri="{FF2B5EF4-FFF2-40B4-BE49-F238E27FC236}">
                <a16:creationId xmlns:a16="http://schemas.microsoft.com/office/drawing/2014/main" id="{7B468346-EE87-4128-95A1-2C6EA25D2CC1}"/>
              </a:ext>
            </a:extLst>
          </p:cNvPr>
          <p:cNvCxnSpPr/>
          <p:nvPr/>
        </p:nvCxnSpPr>
        <p:spPr>
          <a:xfrm>
            <a:off x="9105864" y="1833344"/>
            <a:ext cx="0" cy="1323088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91" name="TextBox 41990">
            <a:extLst>
              <a:ext uri="{FF2B5EF4-FFF2-40B4-BE49-F238E27FC236}">
                <a16:creationId xmlns:a16="http://schemas.microsoft.com/office/drawing/2014/main" id="{71472394-08B2-4129-AA94-4C8E48902143}"/>
              </a:ext>
            </a:extLst>
          </p:cNvPr>
          <p:cNvSpPr txBox="1"/>
          <p:nvPr/>
        </p:nvSpPr>
        <p:spPr>
          <a:xfrm>
            <a:off x="8771862" y="2322562"/>
            <a:ext cx="668667" cy="36933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cs typeface="Aharoni" panose="020B0604020202020204" pitchFamily="2" charset="-79"/>
              </a:rPr>
              <a:t>&lt;5%</a:t>
            </a:r>
            <a:endParaRPr lang="da-DK" b="1" dirty="0">
              <a:cs typeface="Aharoni" panose="020B0604020202020204" pitchFamily="2" charset="-79"/>
            </a:endParaRPr>
          </a:p>
        </p:txBody>
      </p:sp>
      <p:pic>
        <p:nvPicPr>
          <p:cNvPr id="41995" name="Graphic 41994" descr="Smiling face with solid fill">
            <a:extLst>
              <a:ext uri="{FF2B5EF4-FFF2-40B4-BE49-F238E27FC236}">
                <a16:creationId xmlns:a16="http://schemas.microsoft.com/office/drawing/2014/main" id="{9EA8BB6B-4E7F-4610-9D29-B26858F5477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93836">
            <a:off x="6992256" y="144535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187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9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9585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B7F7E6-FB57-4810-B2D9-2E8DA766756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0A7144-EE89-4D53-B151-B9A641EC47F2}"/>
              </a:ext>
            </a:extLst>
          </p:cNvPr>
          <p:cNvSpPr txBox="1"/>
          <p:nvPr/>
        </p:nvSpPr>
        <p:spPr>
          <a:xfrm>
            <a:off x="6706741" y="857884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19…</a:t>
            </a:r>
            <a:endParaRPr lang="da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8F0087-0247-42D5-A075-4FF9A90CF07D}"/>
              </a:ext>
            </a:extLst>
          </p:cNvPr>
          <p:cNvSpPr txBox="1"/>
          <p:nvPr/>
        </p:nvSpPr>
        <p:spPr>
          <a:xfrm>
            <a:off x="6640603" y="840594"/>
            <a:ext cx="38430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e </a:t>
            </a:r>
            <a:r>
              <a:rPr lang="en-US" dirty="0" err="1"/>
              <a:t>overordned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for 2019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29820B-D83F-4F05-B798-2C41DA34ECDE}"/>
              </a:ext>
            </a:extLst>
          </p:cNvPr>
          <p:cNvSpPr txBox="1"/>
          <p:nvPr/>
        </p:nvSpPr>
        <p:spPr>
          <a:xfrm>
            <a:off x="6640603" y="1423306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 –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medlemmer</a:t>
            </a:r>
            <a:endParaRPr lang="da-DK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7E7233-05D8-4568-9037-84B48D626D69}"/>
              </a:ext>
            </a:extLst>
          </p:cNvPr>
          <p:cNvSpPr txBox="1"/>
          <p:nvPr/>
        </p:nvSpPr>
        <p:spPr>
          <a:xfrm>
            <a:off x="6640603" y="1959097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– </a:t>
            </a:r>
            <a:r>
              <a:rPr lang="en-US" dirty="0" err="1"/>
              <a:t>Flere</a:t>
            </a:r>
            <a:r>
              <a:rPr lang="en-US" dirty="0"/>
              <a:t> events</a:t>
            </a:r>
            <a:endParaRPr lang="da-DK" dirty="0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4571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19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B7DD2-F164-4AE8-B786-07AF206A2C22}"/>
              </a:ext>
            </a:extLst>
          </p:cNvPr>
          <p:cNvSpPr txBox="1"/>
          <p:nvPr/>
        </p:nvSpPr>
        <p:spPr>
          <a:xfrm>
            <a:off x="6640603" y="2494888"/>
            <a:ext cx="5634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– </a:t>
            </a:r>
            <a:r>
              <a:rPr lang="en-US" dirty="0" err="1"/>
              <a:t>Simplere</a:t>
            </a:r>
            <a:r>
              <a:rPr lang="en-US" dirty="0"/>
              <a:t> </a:t>
            </a:r>
            <a:r>
              <a:rPr lang="en-US" dirty="0" err="1"/>
              <a:t>arbejdsgange</a:t>
            </a: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CA40E4-C1EA-488D-9B29-3EC285CDB406}"/>
              </a:ext>
            </a:extLst>
          </p:cNvPr>
          <p:cNvSpPr txBox="1"/>
          <p:nvPr/>
        </p:nvSpPr>
        <p:spPr>
          <a:xfrm rot="20967134">
            <a:off x="8725710" y="1519282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VEND TENDENSEN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863C1C-66BB-40F2-93F0-024605D9B5DA}"/>
              </a:ext>
            </a:extLst>
          </p:cNvPr>
          <p:cNvSpPr txBox="1"/>
          <p:nvPr/>
        </p:nvSpPr>
        <p:spPr>
          <a:xfrm rot="20967134">
            <a:off x="9559347" y="2306579"/>
            <a:ext cx="1838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ØR LIVET NEMMERE</a:t>
            </a:r>
            <a:endParaRPr lang="da-DK" b="1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D77F4-561D-4A96-ACC0-9F4B4BFE2500}"/>
              </a:ext>
            </a:extLst>
          </p:cNvPr>
          <p:cNvSpPr/>
          <p:nvPr/>
        </p:nvSpPr>
        <p:spPr>
          <a:xfrm>
            <a:off x="6615907" y="840594"/>
            <a:ext cx="4643482" cy="273821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Hvor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k</a:t>
            </a:r>
            <a:r>
              <a:rPr lang="en-US" dirty="0">
                <a:solidFill>
                  <a:schemeClr val="tx1"/>
                </a:solidFill>
              </a:rPr>
              <a:t> det </a:t>
            </a:r>
            <a:r>
              <a:rPr lang="en-US" dirty="0" err="1">
                <a:solidFill>
                  <a:schemeClr val="tx1"/>
                </a:solidFill>
              </a:rPr>
              <a:t>så</a:t>
            </a:r>
            <a:r>
              <a:rPr lang="en-US" dirty="0">
                <a:solidFill>
                  <a:schemeClr val="tx1"/>
                </a:solidFill>
              </a:rPr>
              <a:t>?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AFD024-1E49-4697-BC60-6702C6AEE0D2}"/>
              </a:ext>
            </a:extLst>
          </p:cNvPr>
          <p:cNvSpPr txBox="1"/>
          <p:nvPr/>
        </p:nvSpPr>
        <p:spPr>
          <a:xfrm>
            <a:off x="1956391" y="1209926"/>
            <a:ext cx="8420986" cy="397557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da-DK" dirty="0"/>
          </a:p>
        </p:txBody>
      </p:sp>
      <p:graphicFrame>
        <p:nvGraphicFramePr>
          <p:cNvPr id="41985" name="Chart 41984">
            <a:extLst>
              <a:ext uri="{FF2B5EF4-FFF2-40B4-BE49-F238E27FC236}">
                <a16:creationId xmlns:a16="http://schemas.microsoft.com/office/drawing/2014/main" id="{EEACC282-CE44-4D7F-A796-0452152778C4}"/>
              </a:ext>
            </a:extLst>
          </p:cNvPr>
          <p:cNvGraphicFramePr/>
          <p:nvPr/>
        </p:nvGraphicFramePr>
        <p:xfrm>
          <a:off x="2032000" y="1244507"/>
          <a:ext cx="8128000" cy="394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E5ED7C-56AC-424A-B585-469CEA0F71E1}"/>
              </a:ext>
            </a:extLst>
          </p:cNvPr>
          <p:cNvCxnSpPr/>
          <p:nvPr/>
        </p:nvCxnSpPr>
        <p:spPr>
          <a:xfrm flipV="1">
            <a:off x="4114800" y="1584250"/>
            <a:ext cx="3987209" cy="722913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FEB536F-2DB9-4699-8019-57C6997AAF24}"/>
              </a:ext>
            </a:extLst>
          </p:cNvPr>
          <p:cNvSpPr txBox="1"/>
          <p:nvPr/>
        </p:nvSpPr>
        <p:spPr>
          <a:xfrm>
            <a:off x="5733895" y="1771372"/>
            <a:ext cx="790871" cy="36933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+30%</a:t>
            </a:r>
            <a:endParaRPr lang="da-DK" dirty="0"/>
          </a:p>
        </p:txBody>
      </p:sp>
      <p:pic>
        <p:nvPicPr>
          <p:cNvPr id="23" name="Graphic 22" descr="Smiling face with solid fill">
            <a:extLst>
              <a:ext uri="{FF2B5EF4-FFF2-40B4-BE49-F238E27FC236}">
                <a16:creationId xmlns:a16="http://schemas.microsoft.com/office/drawing/2014/main" id="{CDF9F6A0-CEB5-4A53-B255-577513737FA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93836">
            <a:off x="7912434" y="12971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52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7u6_KSeQT61mmJh7Z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TmLNBdUoulj8wpCZz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tRPB_JFZYM565gcVnv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duWTGZsvn.GKnV0MNG0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U_T2us5BHGmkBhX0d51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7LamK9JbHoP..wwxBJR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ucME5fJVK2LfGy5Q1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o2YQAuR0SptSTRjMVh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vLjN6QQawTftKmnuv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CINkVKS5KBV0_6zvMFg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jl9GkBWgcY75mX.F5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undG4VpijFIqTuH04E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ihkIfGSiyDDct2dw_P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vZ68a3S1mXaxIvNKmAI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b_ilw568l0aTKlsKBTv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NElKPh6U6Jug2aMQumf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4iw9cNTVShMMjZXp.Cx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s0a5BSUWuT2iGz22X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AJUyEuQR.CxsxEunur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G9.3vTfu36JbeAXFe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CWt2oU0WhlKRJ2Hvw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fDoC5yddXP025OGCFc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P4vPVmt2dMxA4yABX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VHeD5Lsltod14cW3EM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5NQVuPZ5V9Pr3sgV8O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EhUaz2sMupSlpeMZZ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6W8tolKoilKAcJ4VQ26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hjwTP6fQDPFVNJ.4WIU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OXNBliP24dW1EC8YN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4Tv1XNAvzJu6FSW.P_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hzVS5L_Q03MoV5.iL8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ZPIcXRpymLTVxONj1yu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fXV5tPiS6oiAYQ0Ckp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5aA.A.gLXGo5RiqqXi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aKCG.9cDq0gobe.AxJ7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Cvy1HR3mUZkUOxdl9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wCUJ3Q1a9Yw1Z..kS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53PC16SrCINaSYAnPv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vmNXqjFglMECDYbq3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cJErDWv1.MyQ9c3dH02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AzBGOMuEcZCSVq0MI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EvPdeMSJTPuzdTewmkP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Y0Vvc3qoQetNwqglYO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SR5wBwPBgEH5ufoF9DU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8khbuItUi6RHZy4xHb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VADiPLK2GfBzTZxwV2x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rl2dn9Y1n3nEO8w_Ye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PIlNY_d5xRHDP.wknn3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RA2Ja7N6316E7Qgetj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XIaRuUnqvObPw7yHa2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V60TLX6IPAHotyYRJC7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5HNQdU33KOvFXvjCS5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.k6urlTdaJjpta0c838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BWZpMRMaXw3_ImRcXD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nNVHBaBNShw3DQlre1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XPYpKTg21wMoU_CLzG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OwO4QLNb.PHcNvbxe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CGlVQEoipZaNHVLiN5I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4EKylnRSyw1KleLyro.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W2HG027IX.CXzlv92bJ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hbCigXGkI80wQtzkEd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GMsIqliN7JAilTie_1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U99VUZIQODW05yGHNz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hJ1mSUoCJ8vrUiGAWN5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bX8cHQQirmwCw06YJz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78dSMCRv6go7qxROnj0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MYi1kyTaymS8w2Yej_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09LYm.QIS99V3Xtd1_k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6E0N6gGrVlEB4msduH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qndcbQsWdheKnkiSYy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VW4iojYviJ5wZistJO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_DH8hrAwK3bTmuTMx_v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L3ERdnO5pSVWHUSPE2M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c4bvsOrSo7S1a2alv2N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sd_30EODbje3f_BGj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pLp3vgjLesYi7SojExx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SKxi4YNxuzHfyfXN_9e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IRxPaxduTp8tBLbg9zm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ZJyrjZyX8lWMsaDvE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ZJyrjZyX8lWMsaDvE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Fq5tfBlbHO2SF6lCFFl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7a09f094-dfef-497e-9e0f-bd9f04c01edb">2020</Year>
    <SharedWithUsers xmlns="bc4357c8-f86f-42d6-9392-2cb66fb1bce7">
      <UserInfo>
        <DisplayName>Rahbek, Lars (SGRE COG P OF PP PCO)</DisplayName>
        <AccountId>28</AccountId>
        <AccountType/>
      </UserInfo>
      <UserInfo>
        <DisplayName>Lausten, Xenia (SGRE OF PPM DD PDM 1)</DisplayName>
        <AccountId>3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6A1382-319F-4A0A-BEB0-CD75AE33D4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09f094-dfef-497e-9e0f-bd9f04c01edb"/>
    <ds:schemaRef ds:uri="bc4357c8-f86f-42d6-9392-2cb66fb1bc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6158988-F4E5-431F-8342-37A38EF70E7A}">
  <ds:schemaRefs>
    <ds:schemaRef ds:uri="http://schemas.microsoft.com/office/2006/documentManagement/types"/>
    <ds:schemaRef ds:uri="http://schemas.microsoft.com/office/infopath/2007/PartnerControls"/>
    <ds:schemaRef ds:uri="bc4357c8-f86f-42d6-9392-2cb66fb1bce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7a09f094-dfef-497e-9e0f-bd9f04c01ed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TotalTime>0</TotalTime>
  <Words>2052</Words>
  <Application>Microsoft Office PowerPoint</Application>
  <PresentationFormat>Widescreen</PresentationFormat>
  <Paragraphs>571</Paragraphs>
  <Slides>37</Slides>
  <Notes>2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160817_SG_Presentation_LegalName</vt:lpstr>
      <vt:lpstr>Slice</vt:lpstr>
      <vt:lpstr>Generalforsamling 2020</vt:lpstr>
      <vt:lpstr>Agenda</vt:lpstr>
      <vt:lpstr>Velkomst</vt:lpstr>
      <vt:lpstr>Valg af dirigent &amp; stemmetællere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gtige venner… Møllebandens Venner</vt:lpstr>
      <vt:lpstr>Agenda</vt:lpstr>
      <vt:lpstr>EVENTS 2019</vt:lpstr>
      <vt:lpstr>GODKENDTE EVENTS  152   AFLYSTE EVENTS    21      GENNEMFØRTE EVENTS   131             gennemførte events 2018   102     </vt:lpstr>
      <vt:lpstr>FORDELING EVENTS</vt:lpstr>
      <vt:lpstr>MANGFOLDIGHED</vt:lpstr>
      <vt:lpstr>IALT 7.192 DELTAGERE Excl. børnebørn og bedsteforældre  Selvfølgelig er der mange gengangere……..</vt:lpstr>
      <vt:lpstr>EVENTMAKERS </vt:lpstr>
      <vt:lpstr>Meeeeen…..</vt:lpstr>
      <vt:lpstr>EVENTMAKERAFTEN</vt:lpstr>
      <vt:lpstr>Agenda</vt:lpstr>
      <vt:lpstr>Regnskab &amp; Budget</vt:lpstr>
      <vt:lpstr>Regnskab &amp; Budget</vt:lpstr>
      <vt:lpstr>Regnskab &amp; Budget</vt:lpstr>
      <vt:lpstr>Agenda</vt:lpstr>
      <vt:lpstr>Underholdning / Adam Aldridge</vt:lpstr>
      <vt:lpstr>Agenda</vt:lpstr>
      <vt:lpstr>Spisning</vt:lpstr>
      <vt:lpstr>Agenda</vt:lpstr>
      <vt:lpstr>Valg af bestyrelsesmedlemmer​</vt:lpstr>
      <vt:lpstr>Valg af bestyrelsesmedlemmer​</vt:lpstr>
      <vt:lpstr>Valg af bestyrelsesmedlemmer​</vt:lpstr>
      <vt:lpstr>Valg af revisor 2020 &amp; stemmeoptælling</vt:lpstr>
      <vt:lpstr>Resultat af valg</vt:lpstr>
      <vt:lpstr>Eventuelt</vt:lpstr>
      <vt:lpstr>Tak for i aften!  Håber vi ses til et af mange Møllebanden events i 2020…          Der er allerede mange at vælge imellem!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lastModifiedBy>Wind-Larsen, Taus (SGRE TE N NT SYC&amp;MAT)</cp:lastModifiedBy>
  <cp:revision>58</cp:revision>
  <cp:lastPrinted>2017-09-06T16:52:15Z</cp:lastPrinted>
  <dcterms:created xsi:type="dcterms:W3CDTF">2017-09-08T14:42:31Z</dcterms:created>
  <dcterms:modified xsi:type="dcterms:W3CDTF">2026-04-13T11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MSIP_Label_6013f521-439d-4e48-8e98-41ab6c596aa7_Enabled">
    <vt:lpwstr>True</vt:lpwstr>
  </property>
  <property fmtid="{D5CDD505-2E9C-101B-9397-08002B2CF9AE}" pid="11" name="MSIP_Label_6013f521-439d-4e48-8e98-41ab6c596aa7_SiteId">
    <vt:lpwstr>12f921d8-f30d-4596-a652-7045b338485a</vt:lpwstr>
  </property>
  <property fmtid="{D5CDD505-2E9C-101B-9397-08002B2CF9AE}" pid="12" name="MSIP_Label_6013f521-439d-4e48-8e98-41ab6c596aa7_Owner">
    <vt:lpwstr>Tabea.Schadwinkel@siemensgamesa.com</vt:lpwstr>
  </property>
  <property fmtid="{D5CDD505-2E9C-101B-9397-08002B2CF9AE}" pid="13" name="MSIP_Label_6013f521-439d-4e48-8e98-41ab6c596aa7_SetDate">
    <vt:lpwstr>2019-05-03T08:45:32.1259999Z</vt:lpwstr>
  </property>
  <property fmtid="{D5CDD505-2E9C-101B-9397-08002B2CF9AE}" pid="14" name="MSIP_Label_6013f521-439d-4e48-8e98-41ab6c596aa7_Name">
    <vt:lpwstr>Restricted</vt:lpwstr>
  </property>
  <property fmtid="{D5CDD505-2E9C-101B-9397-08002B2CF9AE}" pid="15" name="MSIP_Label_6013f521-439d-4e48-8e98-41ab6c596aa7_Application">
    <vt:lpwstr>Microsoft Azure Information Protection</vt:lpwstr>
  </property>
  <property fmtid="{D5CDD505-2E9C-101B-9397-08002B2CF9AE}" pid="16" name="MSIP_Label_6013f521-439d-4e48-8e98-41ab6c596aa7_Extended_MSFT_Method">
    <vt:lpwstr>Automatic</vt:lpwstr>
  </property>
  <property fmtid="{D5CDD505-2E9C-101B-9397-08002B2CF9AE}" pid="17" name="Sensitivity">
    <vt:lpwstr>Restricted</vt:lpwstr>
  </property>
  <property fmtid="{D5CDD505-2E9C-101B-9397-08002B2CF9AE}" pid="18" name="ContentTypeId">
    <vt:lpwstr>0x010100E26FB1D8A736374FA50B06C999FEE8C3</vt:lpwstr>
  </property>
  <property fmtid="{D5CDD505-2E9C-101B-9397-08002B2CF9AE}" pid="19" name="MSIP_Label_36791f77-3d39-4d72-9277-ac879ec799ed_Enabled">
    <vt:lpwstr>true</vt:lpwstr>
  </property>
  <property fmtid="{D5CDD505-2E9C-101B-9397-08002B2CF9AE}" pid="20" name="MSIP_Label_36791f77-3d39-4d72-9277-ac879ec799ed_SetDate">
    <vt:lpwstr>2026-04-13T11:28:53Z</vt:lpwstr>
  </property>
  <property fmtid="{D5CDD505-2E9C-101B-9397-08002B2CF9AE}" pid="21" name="MSIP_Label_36791f77-3d39-4d72-9277-ac879ec799ed_Method">
    <vt:lpwstr>Standard</vt:lpwstr>
  </property>
  <property fmtid="{D5CDD505-2E9C-101B-9397-08002B2CF9AE}" pid="22" name="MSIP_Label_36791f77-3d39-4d72-9277-ac879ec799ed_Name">
    <vt:lpwstr>restricted-default</vt:lpwstr>
  </property>
  <property fmtid="{D5CDD505-2E9C-101B-9397-08002B2CF9AE}" pid="23" name="MSIP_Label_36791f77-3d39-4d72-9277-ac879ec799ed_SiteId">
    <vt:lpwstr>254ba93e-1f6f-48f3-90e6-e2766664b477</vt:lpwstr>
  </property>
  <property fmtid="{D5CDD505-2E9C-101B-9397-08002B2CF9AE}" pid="24" name="MSIP_Label_36791f77-3d39-4d72-9277-ac879ec799ed_ActionId">
    <vt:lpwstr>ce2fe191-ec63-4ad9-b524-c14967f05b30</vt:lpwstr>
  </property>
  <property fmtid="{D5CDD505-2E9C-101B-9397-08002B2CF9AE}" pid="25" name="MSIP_Label_36791f77-3d39-4d72-9277-ac879ec799ed_ContentBits">
    <vt:lpwstr>0</vt:lpwstr>
  </property>
  <property fmtid="{D5CDD505-2E9C-101B-9397-08002B2CF9AE}" pid="26" name="MSIP_Label_36791f77-3d39-4d72-9277-ac879ec799ed_Tag">
    <vt:lpwstr>10, 3, 0, 2</vt:lpwstr>
  </property>
</Properties>
</file>